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2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FF6D"/>
    <a:srgbClr val="CCFFFF"/>
    <a:srgbClr val="FFFFCC"/>
    <a:srgbClr val="FFFF99"/>
    <a:srgbClr val="CDF3FF"/>
    <a:srgbClr val="9BE5FF"/>
    <a:srgbClr val="65D7FF"/>
    <a:srgbClr val="7F7F7F"/>
    <a:srgbClr val="404040"/>
    <a:srgbClr val="177F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4F0A1E-2E03-4384-93F3-AF80C4235E7A}" v="206" dt="2023-12-29T20:21:52.0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533" autoAdjust="0"/>
  </p:normalViewPr>
  <p:slideViewPr>
    <p:cSldViewPr snapToGrid="0">
      <p:cViewPr varScale="1">
        <p:scale>
          <a:sx n="70" d="100"/>
          <a:sy n="70" d="100"/>
        </p:scale>
        <p:origin x="13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oud Saadeddin" userId="50f496e5f975282e" providerId="LiveId" clId="{E44F0A1E-2E03-4384-93F3-AF80C4235E7A}"/>
    <pc:docChg chg="undo redo custSel modSld">
      <pc:chgData name="Daoud Saadeddin" userId="50f496e5f975282e" providerId="LiveId" clId="{E44F0A1E-2E03-4384-93F3-AF80C4235E7A}" dt="2023-12-30T10:57:00.973" v="1443" actId="208"/>
      <pc:docMkLst>
        <pc:docMk/>
      </pc:docMkLst>
      <pc:sldChg chg="addSp delSp modSp mod modNotesTx">
        <pc:chgData name="Daoud Saadeddin" userId="50f496e5f975282e" providerId="LiveId" clId="{E44F0A1E-2E03-4384-93F3-AF80C4235E7A}" dt="2023-12-30T10:57:00.973" v="1443" actId="208"/>
        <pc:sldMkLst>
          <pc:docMk/>
          <pc:sldMk cId="616708893" sldId="262"/>
        </pc:sldMkLst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2" creationId="{7532BA30-F997-CEB4-2CD7-64227F89D0BA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" creationId="{69D8C59A-721A-7306-83EE-C92030A8884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" creationId="{FD8BFDCB-FF1A-E94E-1DB1-10C0A0DBFE4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" creationId="{9413A9C8-7F75-1721-D85E-FE07402E7F3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" creationId="{618B99AD-8032-BB22-735A-FD334E3C3D00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7" creationId="{D9331453-8715-A4A9-0A8F-7A4C5E4AA0CE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" creationId="{1A0CC14F-C1DA-4CC6-38FB-B62DF56D92A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" creationId="{793CF7C1-373C-0956-BA6C-F537C134AA0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0" creationId="{5302A392-BC75-18AA-B7FA-02F30EF692F2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1" creationId="{E9B0D782-5615-97BB-3BF3-1CD910611E3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2" creationId="{751998EF-4E9F-B0E6-7F8F-128A9B57897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3" creationId="{85780239-43E5-67AF-5696-EFD0082567C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4" creationId="{EC2CF01C-7F65-86CF-93ED-EEA7D484E64D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22" creationId="{323326E5-01A6-4291-AF38-98C406EA6C5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31" creationId="{9C669B5E-36C6-4D15-91D9-42560C90203A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33" creationId="{4834A1D1-D72B-4283-8094-9EF2AD4BC71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6" creationId="{610755E6-CFEE-3C80-48C3-1CE3F4A3132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7" creationId="{ABD02409-6DFC-6492-057F-18299D9F47C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8" creationId="{DD4EBB95-E4B7-E014-B7B0-72985605F18A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39" creationId="{68AF1A4C-EE92-4CD0-86E8-1AE4836FCD8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0" creationId="{2A9BDC48-B547-92FA-488F-D86B35B08F72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1" creationId="{43270E27-F90D-4E62-95A5-CAB95B7D9DCF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2" creationId="{E733E909-9C41-47A4-B642-97B63025DC9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3" creationId="{9BA83BE1-C1EB-B3AE-F0BC-6FE610DC9979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4" creationId="{EEFF6E79-3471-F0A2-873B-B36FEDBF453C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5" creationId="{16435376-AB0D-1AFA-444D-F0CE43DDD45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6" creationId="{F0F94875-D52F-403F-97BA-1669D9113297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7" creationId="{72596DAB-7357-4E26-8E98-D73DD24F2450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8" creationId="{0BDFF5B3-97A0-5860-8BA6-65CEB8FDAACD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9" creationId="{46BC27D2-5D74-4500-9DA5-57750DECAA0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0" creationId="{F246878B-F3DA-015B-72AA-85026A04E92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1" creationId="{DFBF367F-B619-829A-ACE9-397D51193D0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2" creationId="{7A48BB07-5B62-33EF-F86C-33C46CA24FA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3" creationId="{62352ECB-D0A6-4530-4CE4-6E83CDEF0EB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4" creationId="{343A6A95-96E2-C56C-36A7-BE168A3F73AB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5" creationId="{EC19336D-8ABD-4E5A-B3C7-5AD17EC6F2A1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6" creationId="{A6724E78-CDE7-4D57-B5EC-3B6E475B604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7" creationId="{8A9A76A4-A96D-D040-D784-4CFA243DF6E8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8" creationId="{E2EA5F44-E80C-4D55-98B5-2DF7E22CC9D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9" creationId="{E6FE0237-DFE8-4DF8-A32E-9CC09F20992E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0" creationId="{9A981BD7-6908-FF13-70B2-4317A0FDB4D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1" creationId="{F77C2C67-9101-92B7-3113-2BF9FF25531F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2" creationId="{F1036A95-DAAD-465D-8CCC-F8F6A3AEDD2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3" creationId="{BFC993D8-09E3-318C-0EA1-CB557D7CB4C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4" creationId="{B40606B5-420E-46D9-9B14-23C9C654C5F5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5" creationId="{162BFA88-82B7-4E02-B9D7-DFC56A1876D9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6" creationId="{78270EFF-4040-4E8C-8CC2-7D53FD7204E7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7" creationId="{0B5194CD-0954-4F86-84DD-4CFD19B02500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8" creationId="{27A10AC9-DEAA-2E80-8862-FB684732A51B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9" creationId="{4B35404F-8815-4112-AE41-B12A0F74115D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0" creationId="{836B7A6B-7C32-46D3-BF9B-642F3A4ED1AA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1" creationId="{93C2D258-2A00-4DD3-BCE5-AC5AB615E936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2" creationId="{C4D402FD-A996-4A9A-AA1D-9B4EF619187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3" creationId="{351716E0-02E3-486C-A672-D150AE014507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4" creationId="{42D8248A-9633-4A98-9AA8-E148E1EE5996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5" creationId="{D4EC3BC9-4799-437F-8BBA-0E1279FF5AC6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6" creationId="{37A3A3DC-D84F-40FE-94A3-C5258175ABE4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7" creationId="{6AE68165-6FCB-4D99-B4CF-F4CCD3B1EB91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8" creationId="{5A4DCE67-6793-4387-9DE7-5B7875A4904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79" creationId="{A19BF203-D770-5307-DE40-00DAC64D613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0" creationId="{6A16C30E-A716-ECD8-3463-B213BBE712D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1" creationId="{E35325BE-2E72-E8A6-FE6B-173EF097BD7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2" creationId="{265922C3-846E-6CA5-A418-18C776826CF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3" creationId="{B2F2047F-B7FD-17EB-DBDC-D7E46E631DA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4" creationId="{55E40806-4190-EC0D-E00C-DC6456FA8E5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5" creationId="{DFB29099-314A-B840-AA76-9D15359B9FB4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6" creationId="{C47DFD8A-246C-C25A-DB84-9BA74C8B161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7" creationId="{3B73B2F1-F518-C659-6AD5-F5D5E331C5E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8" creationId="{62566F1C-ACBA-2DF7-AD0B-161E62480814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9" creationId="{43949E64-D7AD-2D10-C8BB-0CCC2589D219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0" creationId="{ACE16AF0-6557-2ABE-ACF3-E38DD816A3D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1" creationId="{884A2320-A13F-AC41-6A1B-B680496822C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2" creationId="{7135E57F-8CE7-868A-0E61-149127B9C4E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3" creationId="{A7C3F35E-E1F0-FEB3-7D3F-B0F7F38D38C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4" creationId="{81503831-1013-E6D6-EABA-DCBE150F720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5" creationId="{BD5F3BC0-366C-A1A8-B381-CB718F58A8F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6" creationId="{EEB7FD56-E26F-7315-C893-73CBC678FD5C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7" creationId="{94797AC8-F523-7449-F30E-FA79C2B6D5E7}"/>
          </ac:spMkLst>
        </pc:spChg>
        <pc:spChg chg="add del mod">
          <ac:chgData name="Daoud Saadeddin" userId="50f496e5f975282e" providerId="LiveId" clId="{E44F0A1E-2E03-4384-93F3-AF80C4235E7A}" dt="2023-12-29T18:28:48.053" v="85" actId="478"/>
          <ac:spMkLst>
            <pc:docMk/>
            <pc:sldMk cId="616708893" sldId="262"/>
            <ac:spMk id="98" creationId="{6FA20F2F-677F-5134-AA28-4004C406B2E2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99" creationId="{AB14707C-9255-8967-41AD-B1A26D304459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0" creationId="{084255E8-DC98-4B18-EE37-A41CE90955BD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1" creationId="{7ED621F2-676E-105B-B16B-B621686A88E7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2" creationId="{620267DC-2F1E-9304-19E7-6E1AB49F17A3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3" creationId="{9049A4E6-7C11-58F0-CE44-BD34BAB3472C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4" creationId="{7308AD68-BEB6-4F8B-4D4C-BF1C017EFEC0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5" creationId="{A727C442-A696-3CB4-D14C-8AEEC0F0F3CF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6" creationId="{998EEF01-BA41-ED89-8F2D-77A0C085B161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7" creationId="{726C1941-CD0C-90C9-BDD6-3AAE09064574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8" creationId="{D3D1754D-4973-0F4D-DE52-347675C9665B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9" creationId="{9FE515CB-B897-27C1-2D1D-C32A81815EA6}"/>
          </ac:spMkLst>
        </pc:spChg>
        <pc:spChg chg="add del mod">
          <ac:chgData name="Daoud Saadeddin" userId="50f496e5f975282e" providerId="LiveId" clId="{E44F0A1E-2E03-4384-93F3-AF80C4235E7A}" dt="2023-12-29T19:28:29.563" v="641" actId="478"/>
          <ac:spMkLst>
            <pc:docMk/>
            <pc:sldMk cId="616708893" sldId="262"/>
            <ac:spMk id="110" creationId="{078D6034-6E41-6466-C315-328FADA8E9EF}"/>
          </ac:spMkLst>
        </pc:spChg>
        <pc:spChg chg="mod">
          <ac:chgData name="Daoud Saadeddin" userId="50f496e5f975282e" providerId="LiveId" clId="{E44F0A1E-2E03-4384-93F3-AF80C4235E7A}" dt="2023-12-29T20:13:22.472" v="1025" actId="20577"/>
          <ac:spMkLst>
            <pc:docMk/>
            <pc:sldMk cId="616708893" sldId="262"/>
            <ac:spMk id="117" creationId="{00000000-0000-0000-0000-000000000000}"/>
          </ac:spMkLst>
        </pc:spChg>
        <pc:spChg chg="add del mod">
          <ac:chgData name="Daoud Saadeddin" userId="50f496e5f975282e" providerId="LiveId" clId="{E44F0A1E-2E03-4384-93F3-AF80C4235E7A}" dt="2023-12-29T19:42:58.542" v="757" actId="478"/>
          <ac:spMkLst>
            <pc:docMk/>
            <pc:sldMk cId="616708893" sldId="262"/>
            <ac:spMk id="130" creationId="{995C0F2C-D523-2197-EE91-0FF7A512ED2D}"/>
          </ac:spMkLst>
        </pc:spChg>
        <pc:spChg chg="add del mod">
          <ac:chgData name="Daoud Saadeddin" userId="50f496e5f975282e" providerId="LiveId" clId="{E44F0A1E-2E03-4384-93F3-AF80C4235E7A}" dt="2023-12-29T19:43:42.433" v="777" actId="478"/>
          <ac:spMkLst>
            <pc:docMk/>
            <pc:sldMk cId="616708893" sldId="262"/>
            <ac:spMk id="131" creationId="{E43723B5-9C15-24FF-6A27-80432C05ACE2}"/>
          </ac:spMkLst>
        </pc:spChg>
        <pc:spChg chg="add del mod">
          <ac:chgData name="Daoud Saadeddin" userId="50f496e5f975282e" providerId="LiveId" clId="{E44F0A1E-2E03-4384-93F3-AF80C4235E7A}" dt="2023-12-29T19:42:43.129" v="749" actId="478"/>
          <ac:spMkLst>
            <pc:docMk/>
            <pc:sldMk cId="616708893" sldId="262"/>
            <ac:spMk id="132" creationId="{743C8588-C1E3-FC32-94FA-D4FCD449C7E6}"/>
          </ac:spMkLst>
        </pc:spChg>
        <pc:spChg chg="add del mod">
          <ac:chgData name="Daoud Saadeddin" userId="50f496e5f975282e" providerId="LiveId" clId="{E44F0A1E-2E03-4384-93F3-AF80C4235E7A}" dt="2023-12-29T19:42:21.224" v="741" actId="478"/>
          <ac:spMkLst>
            <pc:docMk/>
            <pc:sldMk cId="616708893" sldId="262"/>
            <ac:spMk id="133" creationId="{B5424A4C-B542-78E0-EEC3-F760D93BB008}"/>
          </ac:spMkLst>
        </pc:spChg>
        <pc:spChg chg="add del mod">
          <ac:chgData name="Daoud Saadeddin" userId="50f496e5f975282e" providerId="LiveId" clId="{E44F0A1E-2E03-4384-93F3-AF80C4235E7A}" dt="2023-12-29T19:43:28.764" v="769" actId="478"/>
          <ac:spMkLst>
            <pc:docMk/>
            <pc:sldMk cId="616708893" sldId="262"/>
            <ac:spMk id="134" creationId="{6566C703-53E5-2352-5496-6C20BAAD5DC6}"/>
          </ac:spMkLst>
        </pc:spChg>
        <pc:spChg chg="add del mod">
          <ac:chgData name="Daoud Saadeddin" userId="50f496e5f975282e" providerId="LiveId" clId="{E44F0A1E-2E03-4384-93F3-AF80C4235E7A}" dt="2023-12-29T19:43:13.674" v="763" actId="478"/>
          <ac:spMkLst>
            <pc:docMk/>
            <pc:sldMk cId="616708893" sldId="262"/>
            <ac:spMk id="135" creationId="{C4EBF431-545F-ADC8-68CA-D8EC86840511}"/>
          </ac:spMkLst>
        </pc:spChg>
        <pc:spChg chg="add del mod">
          <ac:chgData name="Daoud Saadeddin" userId="50f496e5f975282e" providerId="LiveId" clId="{E44F0A1E-2E03-4384-93F3-AF80C4235E7A}" dt="2023-12-29T19:43:58.894" v="785" actId="478"/>
          <ac:spMkLst>
            <pc:docMk/>
            <pc:sldMk cId="616708893" sldId="262"/>
            <ac:spMk id="136" creationId="{C9D322A8-1968-A89F-E6E5-18B73B3164F6}"/>
          </ac:spMkLst>
        </pc:spChg>
        <pc:spChg chg="add del mod">
          <ac:chgData name="Daoud Saadeddin" userId="50f496e5f975282e" providerId="LiveId" clId="{E44F0A1E-2E03-4384-93F3-AF80C4235E7A}" dt="2023-12-29T19:12:48.569" v="245" actId="478"/>
          <ac:spMkLst>
            <pc:docMk/>
            <pc:sldMk cId="616708893" sldId="262"/>
            <ac:spMk id="137" creationId="{35BE952C-D7C0-C5B7-920D-B8672409A257}"/>
          </ac:spMkLst>
        </pc:spChg>
        <pc:spChg chg="add del mod">
          <ac:chgData name="Daoud Saadeddin" userId="50f496e5f975282e" providerId="LiveId" clId="{E44F0A1E-2E03-4384-93F3-AF80C4235E7A}" dt="2023-12-29T19:44:10.539" v="790" actId="478"/>
          <ac:spMkLst>
            <pc:docMk/>
            <pc:sldMk cId="616708893" sldId="262"/>
            <ac:spMk id="138" creationId="{F6F0FDD1-30DB-0870-0BA9-EB6D4B29B20A}"/>
          </ac:spMkLst>
        </pc:spChg>
        <pc:spChg chg="add del mod">
          <ac:chgData name="Daoud Saadeddin" userId="50f496e5f975282e" providerId="LiveId" clId="{E44F0A1E-2E03-4384-93F3-AF80C4235E7A}" dt="2023-12-29T19:44:18.725" v="795" actId="478"/>
          <ac:spMkLst>
            <pc:docMk/>
            <pc:sldMk cId="616708893" sldId="262"/>
            <ac:spMk id="139" creationId="{B4F4687E-72B4-F7B2-6550-DFBEB63D81F6}"/>
          </ac:spMkLst>
        </pc:spChg>
        <pc:spChg chg="add del mod">
          <ac:chgData name="Daoud Saadeddin" userId="50f496e5f975282e" providerId="LiveId" clId="{E44F0A1E-2E03-4384-93F3-AF80C4235E7A}" dt="2023-12-29T19:44:35.712" v="806" actId="478"/>
          <ac:spMkLst>
            <pc:docMk/>
            <pc:sldMk cId="616708893" sldId="262"/>
            <ac:spMk id="140" creationId="{86DFE11B-5682-6D96-F56C-66D81F6F4639}"/>
          </ac:spMkLst>
        </pc:spChg>
        <pc:spChg chg="add mod">
          <ac:chgData name="Daoud Saadeddin" userId="50f496e5f975282e" providerId="LiveId" clId="{E44F0A1E-2E03-4384-93F3-AF80C4235E7A}" dt="2023-12-29T20:17:42.518" v="1053" actId="1036"/>
          <ac:spMkLst>
            <pc:docMk/>
            <pc:sldMk cId="616708893" sldId="262"/>
            <ac:spMk id="141" creationId="{8F4A5FEF-BBA4-2B56-76E1-80C99EA97EB4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2" creationId="{F41F6AAA-2DBB-3266-3DF4-147059F3486C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3" creationId="{65431D9A-08C6-5596-D372-34C8D618877E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44" creationId="{DA903205-E11D-9039-6FA6-CD4EB5B86060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5" creationId="{ACDD9064-08C6-861D-BB65-4AF1191027B1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46" creationId="{DB2402D0-54FC-8F11-61F8-561B157D44C2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7" creationId="{C73EEAC1-901F-B879-2500-DAA0AECDDA99}"/>
          </ac:spMkLst>
        </pc:spChg>
        <pc:spChg chg="add del mod">
          <ac:chgData name="Daoud Saadeddin" userId="50f496e5f975282e" providerId="LiveId" clId="{E44F0A1E-2E03-4384-93F3-AF80C4235E7A}" dt="2023-12-29T19:47:16.587" v="926" actId="478"/>
          <ac:spMkLst>
            <pc:docMk/>
            <pc:sldMk cId="616708893" sldId="262"/>
            <ac:spMk id="148" creationId="{AA420EED-9B68-5856-035C-F7BBBD9F6C88}"/>
          </ac:spMkLst>
        </pc:spChg>
        <pc:spChg chg="add del mod">
          <ac:chgData name="Daoud Saadeddin" userId="50f496e5f975282e" providerId="LiveId" clId="{E44F0A1E-2E03-4384-93F3-AF80C4235E7A}" dt="2023-12-29T19:47:17.758" v="927" actId="478"/>
          <ac:spMkLst>
            <pc:docMk/>
            <pc:sldMk cId="616708893" sldId="262"/>
            <ac:spMk id="149" creationId="{6F1D73AE-154B-E2BE-90C5-5999C2DF9601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0" creationId="{4EFA69F2-82B1-5339-2EA0-700147203CDB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1" creationId="{F4FB6962-B244-24D7-843A-66927D09466E}"/>
          </ac:spMkLst>
        </pc:spChg>
        <pc:spChg chg="add del mod">
          <ac:chgData name="Daoud Saadeddin" userId="50f496e5f975282e" providerId="LiveId" clId="{E44F0A1E-2E03-4384-93F3-AF80C4235E7A}" dt="2023-12-29T19:19:48.993" v="513" actId="478"/>
          <ac:spMkLst>
            <pc:docMk/>
            <pc:sldMk cId="616708893" sldId="262"/>
            <ac:spMk id="152" creationId="{27F28ACD-6878-8357-B58E-C5894F309CB9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3" creationId="{D9A35B85-0A06-DAA8-BE7D-86D33B916834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4" creationId="{109C0622-B869-0BAD-2C11-802635C5724B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5" creationId="{4A59FBD3-2BCF-178B-D73D-004E05B6DB77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6" creationId="{A1C3FD8F-B58B-73B2-28A9-BA67EA6E5E81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7" creationId="{0969E7D6-160D-7A5E-0696-9CB0E8B5BF52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8" creationId="{D7EB46E8-BF91-AEE7-5EEF-244C5776313C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9" creationId="{AB799882-353F-F7F3-9F20-FEB5D24FDF65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60" creationId="{4501219B-8858-10E4-A5AC-C5547C42327E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61" creationId="{C9D4366F-B3CD-BFE4-9049-3EAF0833EC86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62" creationId="{6C9D7C15-7B06-B83C-9C92-CF38037DC2C4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63" creationId="{E0E4CEA2-9EE4-6283-CDF5-EF54A959EC75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64" creationId="{6CC38009-6E9E-DF47-C7DB-527EBF095374}"/>
          </ac:spMkLst>
        </pc:spChg>
        <pc:spChg chg="add del mod">
          <ac:chgData name="Daoud Saadeddin" userId="50f496e5f975282e" providerId="LiveId" clId="{E44F0A1E-2E03-4384-93F3-AF80C4235E7A}" dt="2023-12-29T18:32:05.101" v="97" actId="478"/>
          <ac:spMkLst>
            <pc:docMk/>
            <pc:sldMk cId="616708893" sldId="262"/>
            <ac:spMk id="165" creationId="{3CB3FB48-1D92-FF8D-3B22-B644E39F84F9}"/>
          </ac:spMkLst>
        </pc:spChg>
        <pc:spChg chg="add del mod">
          <ac:chgData name="Daoud Saadeddin" userId="50f496e5f975282e" providerId="LiveId" clId="{E44F0A1E-2E03-4384-93F3-AF80C4235E7A}" dt="2023-12-29T18:32:05.101" v="97" actId="478"/>
          <ac:spMkLst>
            <pc:docMk/>
            <pc:sldMk cId="616708893" sldId="262"/>
            <ac:spMk id="166" creationId="{9BB3DBAF-D9A9-497C-D21B-8E074BE9F1D6}"/>
          </ac:spMkLst>
        </pc:spChg>
        <pc:spChg chg="add del mod">
          <ac:chgData name="Daoud Saadeddin" userId="50f496e5f975282e" providerId="LiveId" clId="{E44F0A1E-2E03-4384-93F3-AF80C4235E7A}" dt="2023-12-29T18:27:46.314" v="70" actId="21"/>
          <ac:spMkLst>
            <pc:docMk/>
            <pc:sldMk cId="616708893" sldId="262"/>
            <ac:spMk id="167" creationId="{E268896F-2C68-3F7E-583E-98FAC253CD03}"/>
          </ac:spMkLst>
        </pc:spChg>
        <pc:spChg chg="add mod ord">
          <ac:chgData name="Daoud Saadeddin" userId="50f496e5f975282e" providerId="LiveId" clId="{E44F0A1E-2E03-4384-93F3-AF80C4235E7A}" dt="2023-12-29T20:20:15.849" v="1078" actId="1036"/>
          <ac:spMkLst>
            <pc:docMk/>
            <pc:sldMk cId="616708893" sldId="262"/>
            <ac:spMk id="168" creationId="{FDC1E626-958A-375E-6E0D-0624EC33A6D9}"/>
          </ac:spMkLst>
        </pc:spChg>
        <pc:spChg chg="add del mod">
          <ac:chgData name="Daoud Saadeddin" userId="50f496e5f975282e" providerId="LiveId" clId="{E44F0A1E-2E03-4384-93F3-AF80C4235E7A}" dt="2023-12-29T18:28:44.203" v="84" actId="21"/>
          <ac:spMkLst>
            <pc:docMk/>
            <pc:sldMk cId="616708893" sldId="262"/>
            <ac:spMk id="169" creationId="{DB586A4B-4885-8A0E-8D3F-BFCB71E9AFFE}"/>
          </ac:spMkLst>
        </pc:spChg>
        <pc:spChg chg="add mod ord topLvl">
          <ac:chgData name="Daoud Saadeddin" userId="50f496e5f975282e" providerId="LiveId" clId="{E44F0A1E-2E03-4384-93F3-AF80C4235E7A}" dt="2023-12-29T19:49:36.245" v="985" actId="164"/>
          <ac:spMkLst>
            <pc:docMk/>
            <pc:sldMk cId="616708893" sldId="262"/>
            <ac:spMk id="170" creationId="{C1765C3B-8FCF-4E9F-EB02-D4CC3802C9B5}"/>
          </ac:spMkLst>
        </pc:spChg>
        <pc:spChg chg="add del">
          <ac:chgData name="Daoud Saadeddin" userId="50f496e5f975282e" providerId="LiveId" clId="{E44F0A1E-2E03-4384-93F3-AF80C4235E7A}" dt="2023-12-29T19:19:19.372" v="496" actId="22"/>
          <ac:spMkLst>
            <pc:docMk/>
            <pc:sldMk cId="616708893" sldId="262"/>
            <ac:spMk id="175" creationId="{9D23420F-8199-9728-8DB6-3F8169DE6244}"/>
          </ac:spMkLst>
        </pc:spChg>
        <pc:spChg chg="add del">
          <ac:chgData name="Daoud Saadeddin" userId="50f496e5f975282e" providerId="LiveId" clId="{E44F0A1E-2E03-4384-93F3-AF80C4235E7A}" dt="2023-12-29T19:19:22.762" v="498" actId="22"/>
          <ac:spMkLst>
            <pc:docMk/>
            <pc:sldMk cId="616708893" sldId="262"/>
            <ac:spMk id="177" creationId="{6413D00D-6D4C-04C8-BCB2-920320BCBB24}"/>
          </ac:spMkLst>
        </pc:spChg>
        <pc:spChg chg="add mod">
          <ac:chgData name="Daoud Saadeddin" userId="50f496e5f975282e" providerId="LiveId" clId="{E44F0A1E-2E03-4384-93F3-AF80C4235E7A}" dt="2023-12-29T20:48:43.214" v="1440" actId="20577"/>
          <ac:spMkLst>
            <pc:docMk/>
            <pc:sldMk cId="616708893" sldId="262"/>
            <ac:spMk id="179" creationId="{3DDDD86C-BB85-5102-3583-6952759E1B47}"/>
          </ac:spMkLst>
        </pc:spChg>
        <pc:spChg chg="add del mod">
          <ac:chgData name="Daoud Saadeddin" userId="50f496e5f975282e" providerId="LiveId" clId="{E44F0A1E-2E03-4384-93F3-AF80C4235E7A}" dt="2023-12-29T19:19:27.464" v="501" actId="767"/>
          <ac:spMkLst>
            <pc:docMk/>
            <pc:sldMk cId="616708893" sldId="262"/>
            <ac:spMk id="180" creationId="{BDE87B55-3310-9915-A6E4-DD67E162FE3C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2" creationId="{64D8400F-3C95-9413-9EAC-FDE97285EF66}"/>
          </ac:spMkLst>
        </pc:spChg>
        <pc:spChg chg="add del mod">
          <ac:chgData name="Daoud Saadeddin" userId="50f496e5f975282e" providerId="LiveId" clId="{E44F0A1E-2E03-4384-93F3-AF80C4235E7A}" dt="2023-12-29T19:20:42.004" v="535"/>
          <ac:spMkLst>
            <pc:docMk/>
            <pc:sldMk cId="616708893" sldId="262"/>
            <ac:spMk id="183" creationId="{8B233754-7D2A-3F08-A5B7-1A3A386F650B}"/>
          </ac:spMkLst>
        </pc:spChg>
        <pc:spChg chg="add del mod">
          <ac:chgData name="Daoud Saadeddin" userId="50f496e5f975282e" providerId="LiveId" clId="{E44F0A1E-2E03-4384-93F3-AF80C4235E7A}" dt="2023-12-29T19:21:42.964" v="539" actId="478"/>
          <ac:spMkLst>
            <pc:docMk/>
            <pc:sldMk cId="616708893" sldId="262"/>
            <ac:spMk id="184" creationId="{FA5B34ED-B5ED-A2BA-CC20-9634BEC70D86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7" creationId="{484FE3A2-24BB-DBA0-451C-01180E2F61CB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8" creationId="{5ED80AC4-1225-336A-362A-1D9D65AA94BE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9" creationId="{B6D631B8-D054-6194-74ED-5954C5EFF4A2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0" creationId="{06AD48F8-EC2A-88FA-1F9F-C1569B5F094F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1" creationId="{C041E29A-ADD6-DD38-D440-3C8CF7C24C66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2" creationId="{5C3D37F5-32BA-AE16-E9D1-7B51287E019C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3" creationId="{2E2FBDA3-1445-E0CF-C9BB-90C31B6135AE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4" creationId="{AA066161-94A6-BE22-FB47-682FEA0DDCAF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5" creationId="{56C7455A-FAA1-3768-D678-E82FB326B199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6" creationId="{74758B6C-7A6C-5C0F-6C43-2D422E74625B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7" creationId="{BBC39A44-E7A9-2275-E3C3-C10F16627487}"/>
          </ac:spMkLst>
        </pc:spChg>
        <pc:spChg chg="add del mod">
          <ac:chgData name="Daoud Saadeddin" userId="50f496e5f975282e" providerId="LiveId" clId="{E44F0A1E-2E03-4384-93F3-AF80C4235E7A}" dt="2023-12-29T19:34:07.383" v="674"/>
          <ac:spMkLst>
            <pc:docMk/>
            <pc:sldMk cId="616708893" sldId="262"/>
            <ac:spMk id="200" creationId="{0176AA97-6847-0F8B-0B6B-04C026BE8AC1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1" creationId="{25B0C2CB-993B-F6D3-5DD8-38894DA8E62E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2" creationId="{A0C5488A-1D0C-6646-080A-898CB8FD4981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3" creationId="{ACEFE628-8097-BCFE-2349-914E343A6E67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4" creationId="{F3E8A6DC-6A25-AA54-D1D2-C14F31069CC5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6" creationId="{24A5B31E-084E-A158-29C5-AA970D07DE02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7" creationId="{5C9D357A-FAF5-1004-3069-978F153BFB16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8" creationId="{A3A02CD4-BA2D-CE45-CAFE-E9098DA75DDD}"/>
          </ac:spMkLst>
        </pc:spChg>
        <pc:spChg chg="add mod topLvl">
          <ac:chgData name="Daoud Saadeddin" userId="50f496e5f975282e" providerId="LiveId" clId="{E44F0A1E-2E03-4384-93F3-AF80C4235E7A}" dt="2023-12-29T20:47:39.543" v="1435" actId="20577"/>
          <ac:spMkLst>
            <pc:docMk/>
            <pc:sldMk cId="616708893" sldId="262"/>
            <ac:spMk id="209" creationId="{6830D18D-4E0A-EF13-D392-2C95DA06CAC0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10" creationId="{7D7B6A83-F010-BE51-47F7-D4CBA9919276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11" creationId="{3F5DA191-11B7-616B-7AB8-6745C7D3CCBE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2" creationId="{B517CBAC-664D-054D-A2B5-4F95B2CCBED4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3" creationId="{436DB70C-8D55-5B08-01EB-ECB2629440BB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4" creationId="{48BEFA91-F555-088E-D507-4A3244E27988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5" creationId="{9C972CD9-8B21-4470-7493-1A3EE69844E8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6" creationId="{93BA3CE9-E21B-3332-F868-B698C213F76C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7" creationId="{D391D7E4-D869-28E2-07D1-53537C924220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8" creationId="{F1F5889A-C46A-000E-BEE1-60DC9F899249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9" creationId="{2D2B51C1-60CB-D715-290C-EB7A02E7FA20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20" creationId="{28FC0F44-CB50-E1D2-D873-10BE18A8FEDC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21" creationId="{4C74E4EF-C63C-C05C-823A-28F7E34E74F6}"/>
          </ac:spMkLst>
        </pc:spChg>
        <pc:spChg chg="add mod topLvl">
          <ac:chgData name="Daoud Saadeddin" userId="50f496e5f975282e" providerId="LiveId" clId="{E44F0A1E-2E03-4384-93F3-AF80C4235E7A}" dt="2023-12-29T20:30:10.218" v="1321" actId="20577"/>
          <ac:spMkLst>
            <pc:docMk/>
            <pc:sldMk cId="616708893" sldId="262"/>
            <ac:spMk id="222" creationId="{CE2AE1EF-052A-9BFF-9434-70F396ADECF1}"/>
          </ac:spMkLst>
        </pc:spChg>
        <pc:spChg chg="add mod topLvl">
          <ac:chgData name="Daoud Saadeddin" userId="50f496e5f975282e" providerId="LiveId" clId="{E44F0A1E-2E03-4384-93F3-AF80C4235E7A}" dt="2023-12-29T20:30:24.527" v="1322"/>
          <ac:spMkLst>
            <pc:docMk/>
            <pc:sldMk cId="616708893" sldId="262"/>
            <ac:spMk id="223" creationId="{A039303F-FBB4-713D-14BB-E50B0FD64486}"/>
          </ac:spMkLst>
        </pc:spChg>
        <pc:spChg chg="add mod topLvl">
          <ac:chgData name="Daoud Saadeddin" userId="50f496e5f975282e" providerId="LiveId" clId="{E44F0A1E-2E03-4384-93F3-AF80C4235E7A}" dt="2023-12-29T20:34:13.550" v="1368"/>
          <ac:spMkLst>
            <pc:docMk/>
            <pc:sldMk cId="616708893" sldId="262"/>
            <ac:spMk id="224" creationId="{4224A5AE-F8E9-DF91-11F1-D0B76595ED21}"/>
          </ac:spMkLst>
        </pc:spChg>
        <pc:spChg chg="add mod topLvl">
          <ac:chgData name="Daoud Saadeddin" userId="50f496e5f975282e" providerId="LiveId" clId="{E44F0A1E-2E03-4384-93F3-AF80C4235E7A}" dt="2023-12-29T20:34:15.802" v="1369"/>
          <ac:spMkLst>
            <pc:docMk/>
            <pc:sldMk cId="616708893" sldId="262"/>
            <ac:spMk id="225" creationId="{B4E42FB2-5E2F-21CB-B9E2-5D181589D055}"/>
          </ac:spMkLst>
        </pc:spChg>
        <pc:spChg chg="add mod topLvl">
          <ac:chgData name="Daoud Saadeddin" userId="50f496e5f975282e" providerId="LiveId" clId="{E44F0A1E-2E03-4384-93F3-AF80C4235E7A}" dt="2023-12-29T20:36:36.574" v="1414" actId="21"/>
          <ac:spMkLst>
            <pc:docMk/>
            <pc:sldMk cId="616708893" sldId="262"/>
            <ac:spMk id="226" creationId="{253D67BD-18A0-B7EB-FA29-6CD1D8AF55A0}"/>
          </ac:spMkLst>
        </pc:spChg>
        <pc:spChg chg="add mod topLvl">
          <ac:chgData name="Daoud Saadeddin" userId="50f496e5f975282e" providerId="LiveId" clId="{E44F0A1E-2E03-4384-93F3-AF80C4235E7A}" dt="2023-12-29T20:36:38.744" v="1415"/>
          <ac:spMkLst>
            <pc:docMk/>
            <pc:sldMk cId="616708893" sldId="262"/>
            <ac:spMk id="227" creationId="{A0973EBB-8F46-83B9-D202-FA6DD3285E0D}"/>
          </ac:spMkLst>
        </pc:spChg>
        <pc:spChg chg="add mod topLvl">
          <ac:chgData name="Daoud Saadeddin" userId="50f496e5f975282e" providerId="LiveId" clId="{E44F0A1E-2E03-4384-93F3-AF80C4235E7A}" dt="2023-12-29T20:35:11.274" v="1394"/>
          <ac:spMkLst>
            <pc:docMk/>
            <pc:sldMk cId="616708893" sldId="262"/>
            <ac:spMk id="228" creationId="{C813C33F-45E1-7C4E-A25A-2ADE5CE106BA}"/>
          </ac:spMkLst>
        </pc:spChg>
        <pc:spChg chg="add mod topLvl">
          <ac:chgData name="Daoud Saadeddin" userId="50f496e5f975282e" providerId="LiveId" clId="{E44F0A1E-2E03-4384-93F3-AF80C4235E7A}" dt="2023-12-29T20:35:12.573" v="1395"/>
          <ac:spMkLst>
            <pc:docMk/>
            <pc:sldMk cId="616708893" sldId="262"/>
            <ac:spMk id="229" creationId="{724B1E49-D1C9-1680-1528-0E7C581603CB}"/>
          </ac:spMkLst>
        </pc:spChg>
        <pc:spChg chg="add mod topLvl">
          <ac:chgData name="Daoud Saadeddin" userId="50f496e5f975282e" providerId="LiveId" clId="{E44F0A1E-2E03-4384-93F3-AF80C4235E7A}" dt="2023-12-29T20:35:14.450" v="1396"/>
          <ac:spMkLst>
            <pc:docMk/>
            <pc:sldMk cId="616708893" sldId="262"/>
            <ac:spMk id="230" creationId="{1D6BF3F2-EDFB-9FB2-3FD8-8F55164E1E47}"/>
          </ac:spMkLst>
        </pc:spChg>
        <pc:spChg chg="add mod topLvl">
          <ac:chgData name="Daoud Saadeddin" userId="50f496e5f975282e" providerId="LiveId" clId="{E44F0A1E-2E03-4384-93F3-AF80C4235E7A}" dt="2023-12-29T20:35:15.588" v="1397"/>
          <ac:spMkLst>
            <pc:docMk/>
            <pc:sldMk cId="616708893" sldId="262"/>
            <ac:spMk id="231" creationId="{F576F97E-3E9E-9923-7CC8-5072F7142B17}"/>
          </ac:spMkLst>
        </pc:spChg>
        <pc:spChg chg="add del mod">
          <ac:chgData name="Daoud Saadeddin" userId="50f496e5f975282e" providerId="LiveId" clId="{E44F0A1E-2E03-4384-93F3-AF80C4235E7A}" dt="2023-12-29T19:42:19.749" v="740" actId="21"/>
          <ac:spMkLst>
            <pc:docMk/>
            <pc:sldMk cId="616708893" sldId="262"/>
            <ac:spMk id="233" creationId="{0D52495E-A2E6-0396-1BE4-09CC9B859901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34" creationId="{21BAC2AC-8FE1-9903-7F08-D9AF9DDAAE47}"/>
          </ac:spMkLst>
        </pc:spChg>
        <pc:spChg chg="add del mod">
          <ac:chgData name="Daoud Saadeddin" userId="50f496e5f975282e" providerId="LiveId" clId="{E44F0A1E-2E03-4384-93F3-AF80C4235E7A}" dt="2023-12-29T19:42:41.989" v="748" actId="21"/>
          <ac:spMkLst>
            <pc:docMk/>
            <pc:sldMk cId="616708893" sldId="262"/>
            <ac:spMk id="235" creationId="{99FDE491-2FE2-8F55-EF5E-D986D966BE7F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36" creationId="{18C19CF4-0F3E-C69E-CC37-3131529B143C}"/>
          </ac:spMkLst>
        </pc:spChg>
        <pc:spChg chg="add del mod">
          <ac:chgData name="Daoud Saadeddin" userId="50f496e5f975282e" providerId="LiveId" clId="{E44F0A1E-2E03-4384-93F3-AF80C4235E7A}" dt="2023-12-29T19:42:57.174" v="756" actId="21"/>
          <ac:spMkLst>
            <pc:docMk/>
            <pc:sldMk cId="616708893" sldId="262"/>
            <ac:spMk id="237" creationId="{20FB7256-DAD1-4EBD-68CE-C98793F0925D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38" creationId="{AB0C9898-DE09-B577-97EB-AE4A325412A8}"/>
          </ac:spMkLst>
        </pc:spChg>
        <pc:spChg chg="add del mod">
          <ac:chgData name="Daoud Saadeddin" userId="50f496e5f975282e" providerId="LiveId" clId="{E44F0A1E-2E03-4384-93F3-AF80C4235E7A}" dt="2023-12-29T19:43:12.471" v="762" actId="21"/>
          <ac:spMkLst>
            <pc:docMk/>
            <pc:sldMk cId="616708893" sldId="262"/>
            <ac:spMk id="239" creationId="{A11C729D-7143-83DD-6460-6ED0D1AEDEA3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40" creationId="{4495D99D-B058-5326-1E2D-5FFEA4E98498}"/>
          </ac:spMkLst>
        </pc:spChg>
        <pc:spChg chg="add del mod">
          <ac:chgData name="Daoud Saadeddin" userId="50f496e5f975282e" providerId="LiveId" clId="{E44F0A1E-2E03-4384-93F3-AF80C4235E7A}" dt="2023-12-29T19:43:27.421" v="768" actId="21"/>
          <ac:spMkLst>
            <pc:docMk/>
            <pc:sldMk cId="616708893" sldId="262"/>
            <ac:spMk id="241" creationId="{878A89B6-AED5-1A59-70BA-1F2BF761C7A7}"/>
          </ac:spMkLst>
        </pc:spChg>
        <pc:spChg chg="add del mod topLvl">
          <ac:chgData name="Daoud Saadeddin" userId="50f496e5f975282e" providerId="LiveId" clId="{E44F0A1E-2E03-4384-93F3-AF80C4235E7A}" dt="2023-12-30T10:54:58.438" v="1441" actId="208"/>
          <ac:spMkLst>
            <pc:docMk/>
            <pc:sldMk cId="616708893" sldId="262"/>
            <ac:spMk id="242" creationId="{D572735B-63CC-525B-18BD-47AC411A1EF9}"/>
          </ac:spMkLst>
        </pc:spChg>
        <pc:spChg chg="add del mod">
          <ac:chgData name="Daoud Saadeddin" userId="50f496e5f975282e" providerId="LiveId" clId="{E44F0A1E-2E03-4384-93F3-AF80C4235E7A}" dt="2023-12-29T19:43:41.340" v="776" actId="21"/>
          <ac:spMkLst>
            <pc:docMk/>
            <pc:sldMk cId="616708893" sldId="262"/>
            <ac:spMk id="244" creationId="{1C8D3B78-F068-0884-B5C1-86B4C588F6B1}"/>
          </ac:spMkLst>
        </pc:spChg>
        <pc:spChg chg="add del mod topLvl">
          <ac:chgData name="Daoud Saadeddin" userId="50f496e5f975282e" providerId="LiveId" clId="{E44F0A1E-2E03-4384-93F3-AF80C4235E7A}" dt="2023-12-30T10:54:58.438" v="1441" actId="208"/>
          <ac:spMkLst>
            <pc:docMk/>
            <pc:sldMk cId="616708893" sldId="262"/>
            <ac:spMk id="245" creationId="{C63A2C6A-95D5-106E-5EFE-B1C578F4349E}"/>
          </ac:spMkLst>
        </pc:spChg>
        <pc:spChg chg="add del mod">
          <ac:chgData name="Daoud Saadeddin" userId="50f496e5f975282e" providerId="LiveId" clId="{E44F0A1E-2E03-4384-93F3-AF80C4235E7A}" dt="2023-12-29T19:43:54.368" v="782" actId="21"/>
          <ac:spMkLst>
            <pc:docMk/>
            <pc:sldMk cId="616708893" sldId="262"/>
            <ac:spMk id="246" creationId="{5C2BC401-118D-EB86-2102-EF1156467EF6}"/>
          </ac:spMkLst>
        </pc:spChg>
        <pc:spChg chg="add del mod">
          <ac:chgData name="Daoud Saadeddin" userId="50f496e5f975282e" providerId="LiveId" clId="{E44F0A1E-2E03-4384-93F3-AF80C4235E7A}" dt="2023-12-29T19:43:57.976" v="784" actId="478"/>
          <ac:spMkLst>
            <pc:docMk/>
            <pc:sldMk cId="616708893" sldId="262"/>
            <ac:spMk id="247" creationId="{ADFCA293-AB49-4C82-0B2A-5989CC5A1E46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48" creationId="{421FDDC5-5174-9501-B114-3DED96E1D700}"/>
          </ac:spMkLst>
        </pc:spChg>
        <pc:spChg chg="add del mod">
          <ac:chgData name="Daoud Saadeddin" userId="50f496e5f975282e" providerId="LiveId" clId="{E44F0A1E-2E03-4384-93F3-AF80C4235E7A}" dt="2023-12-29T19:44:09.022" v="789" actId="21"/>
          <ac:spMkLst>
            <pc:docMk/>
            <pc:sldMk cId="616708893" sldId="262"/>
            <ac:spMk id="249" creationId="{8BE8805B-7A74-B84D-0498-ED59BFC8B013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50" creationId="{515D3201-9E54-C850-24D0-ACBD180C4E41}"/>
          </ac:spMkLst>
        </pc:spChg>
        <pc:spChg chg="add del mod">
          <ac:chgData name="Daoud Saadeddin" userId="50f496e5f975282e" providerId="LiveId" clId="{E44F0A1E-2E03-4384-93F3-AF80C4235E7A}" dt="2023-12-29T19:44:17.397" v="794" actId="21"/>
          <ac:spMkLst>
            <pc:docMk/>
            <pc:sldMk cId="616708893" sldId="262"/>
            <ac:spMk id="251" creationId="{DEFC878F-87AD-13A9-2742-2F286BD58AC9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52" creationId="{F0B29DFF-A410-2F7F-A8E6-B2639C3D7C29}"/>
          </ac:spMkLst>
        </pc:spChg>
        <pc:spChg chg="add del mod">
          <ac:chgData name="Daoud Saadeddin" userId="50f496e5f975282e" providerId="LiveId" clId="{E44F0A1E-2E03-4384-93F3-AF80C4235E7A}" dt="2023-12-29T19:44:28.707" v="801"/>
          <ac:spMkLst>
            <pc:docMk/>
            <pc:sldMk cId="616708893" sldId="262"/>
            <ac:spMk id="253" creationId="{B2792558-01CC-A246-3CE1-9FEE2A5E0C87}"/>
          </ac:spMkLst>
        </pc:spChg>
        <pc:spChg chg="add del mod">
          <ac:chgData name="Daoud Saadeddin" userId="50f496e5f975282e" providerId="LiveId" clId="{E44F0A1E-2E03-4384-93F3-AF80C4235E7A}" dt="2023-12-29T19:44:34.728" v="805" actId="21"/>
          <ac:spMkLst>
            <pc:docMk/>
            <pc:sldMk cId="616708893" sldId="262"/>
            <ac:spMk id="254" creationId="{51A9B5C7-4416-04B4-DE04-287C52E9528B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55" creationId="{66BFF4F3-C679-B961-6323-452880BF6D18}"/>
          </ac:spMkLst>
        </pc:spChg>
        <pc:spChg chg="add mod">
          <ac:chgData name="Daoud Saadeddin" userId="50f496e5f975282e" providerId="LiveId" clId="{E44F0A1E-2E03-4384-93F3-AF80C4235E7A}" dt="2023-12-29T20:20:15.849" v="1078" actId="1036"/>
          <ac:spMkLst>
            <pc:docMk/>
            <pc:sldMk cId="616708893" sldId="262"/>
            <ac:spMk id="267" creationId="{65D57B21-B3B8-078C-F68A-79C24A84EA31}"/>
          </ac:spMkLst>
        </pc:spChg>
        <pc:spChg chg="add mod">
          <ac:chgData name="Daoud Saadeddin" userId="50f496e5f975282e" providerId="LiveId" clId="{E44F0A1E-2E03-4384-93F3-AF80C4235E7A}" dt="2023-12-29T20:20:15.849" v="1078" actId="1036"/>
          <ac:spMkLst>
            <pc:docMk/>
            <pc:sldMk cId="616708893" sldId="262"/>
            <ac:spMk id="268" creationId="{2986C32B-1702-13F3-FC2D-EC7F952BA056}"/>
          </ac:spMkLst>
        </pc:spChg>
        <pc:grpChg chg="add del mod topLvl">
          <ac:chgData name="Daoud Saadeddin" userId="50f496e5f975282e" providerId="LiveId" clId="{E44F0A1E-2E03-4384-93F3-AF80C4235E7A}" dt="2023-12-29T19:22:14.287" v="544" actId="165"/>
          <ac:grpSpMkLst>
            <pc:docMk/>
            <pc:sldMk cId="616708893" sldId="262"/>
            <ac:grpSpMk id="172" creationId="{5182EC27-C362-D707-3707-03FFFAFE729D}"/>
          </ac:grpSpMkLst>
        </pc:grpChg>
        <pc:grpChg chg="add del mod ord">
          <ac:chgData name="Daoud Saadeddin" userId="50f496e5f975282e" providerId="LiveId" clId="{E44F0A1E-2E03-4384-93F3-AF80C4235E7A}" dt="2023-12-29T19:22:08.085" v="543" actId="165"/>
          <ac:grpSpMkLst>
            <pc:docMk/>
            <pc:sldMk cId="616708893" sldId="262"/>
            <ac:grpSpMk id="173" creationId="{5A03894F-9CA6-81F6-0EDC-19448C58693D}"/>
          </ac:grpSpMkLst>
        </pc:grpChg>
        <pc:grpChg chg="add mod">
          <ac:chgData name="Daoud Saadeddin" userId="50f496e5f975282e" providerId="LiveId" clId="{E44F0A1E-2E03-4384-93F3-AF80C4235E7A}" dt="2023-12-29T20:20:15.849" v="1078" actId="1036"/>
          <ac:grpSpMkLst>
            <pc:docMk/>
            <pc:sldMk cId="616708893" sldId="262"/>
            <ac:grpSpMk id="181" creationId="{3954219D-FB30-21A1-F809-A262566DDF1C}"/>
          </ac:grpSpMkLst>
        </pc:grpChg>
        <pc:grpChg chg="add mod ord">
          <ac:chgData name="Daoud Saadeddin" userId="50f496e5f975282e" providerId="LiveId" clId="{E44F0A1E-2E03-4384-93F3-AF80C4235E7A}" dt="2023-12-29T20:20:15.849" v="1078" actId="1036"/>
          <ac:grpSpMkLst>
            <pc:docMk/>
            <pc:sldMk cId="616708893" sldId="262"/>
            <ac:grpSpMk id="198" creationId="{77EB928A-2C6E-6CFB-3F93-8E4ED7A9FBA7}"/>
          </ac:grpSpMkLst>
        </pc:grpChg>
        <pc:grpChg chg="add mod">
          <ac:chgData name="Daoud Saadeddin" userId="50f496e5f975282e" providerId="LiveId" clId="{E44F0A1E-2E03-4384-93F3-AF80C4235E7A}" dt="2023-12-29T20:30:45.802" v="1325" actId="207"/>
          <ac:grpSpMkLst>
            <pc:docMk/>
            <pc:sldMk cId="616708893" sldId="262"/>
            <ac:grpSpMk id="199" creationId="{CD903537-FB09-72D2-80B9-80AEF9C80BB4}"/>
          </ac:grpSpMkLst>
        </pc:grpChg>
        <pc:grpChg chg="add mod">
          <ac:chgData name="Daoud Saadeddin" userId="50f496e5f975282e" providerId="LiveId" clId="{E44F0A1E-2E03-4384-93F3-AF80C4235E7A}" dt="2023-12-29T19:37:46.055" v="703" actId="164"/>
          <ac:grpSpMkLst>
            <pc:docMk/>
            <pc:sldMk cId="616708893" sldId="262"/>
            <ac:grpSpMk id="205" creationId="{60055CA7-2350-4B3E-099B-B77D416B3F06}"/>
          </ac:grpSpMkLst>
        </pc:grpChg>
        <pc:grpChg chg="add del mod">
          <ac:chgData name="Daoud Saadeddin" userId="50f496e5f975282e" providerId="LiveId" clId="{E44F0A1E-2E03-4384-93F3-AF80C4235E7A}" dt="2023-12-29T19:39:03.045" v="722" actId="165"/>
          <ac:grpSpMkLst>
            <pc:docMk/>
            <pc:sldMk cId="616708893" sldId="262"/>
            <ac:grpSpMk id="232" creationId="{6A840EC2-1D4E-07A1-4417-D0FF0E3E93CE}"/>
          </ac:grpSpMkLst>
        </pc:grpChg>
        <pc:grpChg chg="add mod">
          <ac:chgData name="Daoud Saadeddin" userId="50f496e5f975282e" providerId="LiveId" clId="{E44F0A1E-2E03-4384-93F3-AF80C4235E7A}" dt="2023-12-29T19:43:32.699" v="772" actId="164"/>
          <ac:grpSpMkLst>
            <pc:docMk/>
            <pc:sldMk cId="616708893" sldId="262"/>
            <ac:grpSpMk id="243" creationId="{D6607479-0DF9-8229-0F91-E54E9AD2D340}"/>
          </ac:grpSpMkLst>
        </pc:grpChg>
        <pc:grpChg chg="add mod">
          <ac:chgData name="Daoud Saadeddin" userId="50f496e5f975282e" providerId="LiveId" clId="{E44F0A1E-2E03-4384-93F3-AF80C4235E7A}" dt="2023-12-29T19:44:47.861" v="811" actId="164"/>
          <ac:grpSpMkLst>
            <pc:docMk/>
            <pc:sldMk cId="616708893" sldId="262"/>
            <ac:grpSpMk id="256" creationId="{D07D98E1-F713-E518-ABDA-86C6EA9EE623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57" creationId="{660632C1-B85A-DCB6-01DD-E71D4CA3A717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58" creationId="{6B21713A-F665-E076-B10C-D2FD4C3CF096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59" creationId="{6C17E2CF-9070-F552-0BEA-846E37CA25FE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0" creationId="{2F751A4D-E9DD-12C3-E411-ED960183C62F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1" creationId="{284BEBE1-A876-9E56-42FC-5824D38DAB06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2" creationId="{C03A062D-BED3-8763-1357-04469C8E7029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3" creationId="{AB9DA8CA-89D3-9464-FF65-26F13A71331D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4" creationId="{D4F3798B-5E36-1F9B-BF00-475EC87FCD3E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5" creationId="{BB3DDEEE-53BC-5488-0345-24535B7BF16F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6" creationId="{A749F4D6-329B-8310-FCF7-3D747C50BE26}"/>
          </ac:grpSpMkLst>
        </pc:grpChg>
        <pc:grpChg chg="add mod">
          <ac:chgData name="Daoud Saadeddin" userId="50f496e5f975282e" providerId="LiveId" clId="{E44F0A1E-2E03-4384-93F3-AF80C4235E7A}" dt="2023-12-29T19:49:36.245" v="985" actId="164"/>
          <ac:grpSpMkLst>
            <pc:docMk/>
            <pc:sldMk cId="616708893" sldId="262"/>
            <ac:grpSpMk id="269" creationId="{11700DB7-F72D-FFD2-96C4-6BE0DDB923CF}"/>
          </ac:grpSpMkLst>
        </pc:grpChg>
        <pc:grpChg chg="add del mod">
          <ac:chgData name="Daoud Saadeddin" userId="50f496e5f975282e" providerId="LiveId" clId="{E44F0A1E-2E03-4384-93F3-AF80C4235E7A}" dt="2023-12-29T20:21:36.295" v="1102" actId="165"/>
          <ac:grpSpMkLst>
            <pc:docMk/>
            <pc:sldMk cId="616708893" sldId="262"/>
            <ac:grpSpMk id="274" creationId="{7D81D3F2-A840-D4EE-88D2-DD6924BC322A}"/>
          </ac:grpSpMkLst>
        </pc:grpChg>
        <pc:grpChg chg="add del mod">
          <ac:chgData name="Daoud Saadeddin" userId="50f496e5f975282e" providerId="LiveId" clId="{E44F0A1E-2E03-4384-93F3-AF80C4235E7A}" dt="2023-12-29T20:21:52.052" v="1113" actId="165"/>
          <ac:grpSpMkLst>
            <pc:docMk/>
            <pc:sldMk cId="616708893" sldId="262"/>
            <ac:grpSpMk id="275" creationId="{1925B002-9090-E69C-1D2D-92F9541C42D4}"/>
          </ac:grpSpMkLst>
        </pc:grpChg>
        <pc:grpChg chg="add del mod">
          <ac:chgData name="Daoud Saadeddin" userId="50f496e5f975282e" providerId="LiveId" clId="{E44F0A1E-2E03-4384-93F3-AF80C4235E7A}" dt="2023-12-29T20:21:50.828" v="1112" actId="165"/>
          <ac:grpSpMkLst>
            <pc:docMk/>
            <pc:sldMk cId="616708893" sldId="262"/>
            <ac:grpSpMk id="276" creationId="{EA6355DE-0654-00FC-6D19-DD419A0AA1B4}"/>
          </ac:grpSpMkLst>
        </pc:grpChg>
        <pc:grpChg chg="add del mod">
          <ac:chgData name="Daoud Saadeddin" userId="50f496e5f975282e" providerId="LiveId" clId="{E44F0A1E-2E03-4384-93F3-AF80C4235E7A}" dt="2023-12-29T20:21:49.222" v="1111" actId="165"/>
          <ac:grpSpMkLst>
            <pc:docMk/>
            <pc:sldMk cId="616708893" sldId="262"/>
            <ac:grpSpMk id="277" creationId="{3145D8E7-2F8D-5BF4-9CC4-27935CB4CA5E}"/>
          </ac:grpSpMkLst>
        </pc:grpChg>
        <pc:grpChg chg="add del mod">
          <ac:chgData name="Daoud Saadeddin" userId="50f496e5f975282e" providerId="LiveId" clId="{E44F0A1E-2E03-4384-93F3-AF80C4235E7A}" dt="2023-12-29T20:21:48.031" v="1110" actId="165"/>
          <ac:grpSpMkLst>
            <pc:docMk/>
            <pc:sldMk cId="616708893" sldId="262"/>
            <ac:grpSpMk id="278" creationId="{7C5A3FA5-956F-126C-5E2B-A280DE8038BD}"/>
          </ac:grpSpMkLst>
        </pc:grpChg>
        <pc:grpChg chg="add del mod">
          <ac:chgData name="Daoud Saadeddin" userId="50f496e5f975282e" providerId="LiveId" clId="{E44F0A1E-2E03-4384-93F3-AF80C4235E7A}" dt="2023-12-29T20:21:46.858" v="1109" actId="165"/>
          <ac:grpSpMkLst>
            <pc:docMk/>
            <pc:sldMk cId="616708893" sldId="262"/>
            <ac:grpSpMk id="279" creationId="{4DC229AE-BF30-A61A-AA60-C3A62C489ECA}"/>
          </ac:grpSpMkLst>
        </pc:grpChg>
        <pc:grpChg chg="add del mod">
          <ac:chgData name="Daoud Saadeddin" userId="50f496e5f975282e" providerId="LiveId" clId="{E44F0A1E-2E03-4384-93F3-AF80C4235E7A}" dt="2023-12-29T20:21:45.678" v="1108" actId="165"/>
          <ac:grpSpMkLst>
            <pc:docMk/>
            <pc:sldMk cId="616708893" sldId="262"/>
            <ac:grpSpMk id="280" creationId="{98B76808-3B9B-50A9-5C83-9D91A6F54545}"/>
          </ac:grpSpMkLst>
        </pc:grpChg>
        <pc:grpChg chg="add del mod">
          <ac:chgData name="Daoud Saadeddin" userId="50f496e5f975282e" providerId="LiveId" clId="{E44F0A1E-2E03-4384-93F3-AF80C4235E7A}" dt="2023-12-29T20:21:44.553" v="1107" actId="165"/>
          <ac:grpSpMkLst>
            <pc:docMk/>
            <pc:sldMk cId="616708893" sldId="262"/>
            <ac:grpSpMk id="281" creationId="{C7B169B7-A91B-AD7B-7252-EA271C88149F}"/>
          </ac:grpSpMkLst>
        </pc:grpChg>
        <pc:grpChg chg="add del mod">
          <ac:chgData name="Daoud Saadeddin" userId="50f496e5f975282e" providerId="LiveId" clId="{E44F0A1E-2E03-4384-93F3-AF80C4235E7A}" dt="2023-12-29T20:21:41.740" v="1106" actId="165"/>
          <ac:grpSpMkLst>
            <pc:docMk/>
            <pc:sldMk cId="616708893" sldId="262"/>
            <ac:grpSpMk id="282" creationId="{2C4B0AE7-B473-0CD8-36D5-E748C31E9055}"/>
          </ac:grpSpMkLst>
        </pc:grpChg>
        <pc:grpChg chg="add del mod">
          <ac:chgData name="Daoud Saadeddin" userId="50f496e5f975282e" providerId="LiveId" clId="{E44F0A1E-2E03-4384-93F3-AF80C4235E7A}" dt="2023-12-29T20:21:40.216" v="1105" actId="165"/>
          <ac:grpSpMkLst>
            <pc:docMk/>
            <pc:sldMk cId="616708893" sldId="262"/>
            <ac:grpSpMk id="283" creationId="{D4700E41-DD8C-D565-BE8E-DC6A4EEDE641}"/>
          </ac:grpSpMkLst>
        </pc:grp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5" creationId="{D4DDAC30-B16C-940B-1782-72CF7D32B1E4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6" creationId="{CEDA868B-E396-022E-36A2-ED285E816CAD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7" creationId="{21A88340-953E-729A-ED4B-E86427AFA570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8" creationId="{D56D45E5-1493-1CCE-5F0B-0E39C6DDE639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9" creationId="{2AB42DBC-C318-030C-5D8C-5836B44412B1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0" creationId="{4AB27870-5BF9-78D1-5A07-4E2D394645CE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1" creationId="{4AADFD44-A8C0-1DF8-CDA7-F5CDBBB02F22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3" creationId="{E8ABDF2F-C1A2-B2FE-2108-0237DF9921CF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4" creationId="{07B27D56-EF4B-A62A-95AF-7A37FAF72D08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5" creationId="{406ED937-9013-41D6-EEA0-D5EE9536B08B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6" creationId="{A50A8497-D1A1-1912-FAFF-E011BE816A07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7" creationId="{C12844F2-8FA0-14AE-61BF-F5B025AB2A12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8" creationId="{FE6D4C3B-E615-C9E5-7842-A6B94D7692A3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9" creationId="{37CEA448-15C1-9104-CC08-436A3012DD1F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0" creationId="{79AF0CAD-56CE-4ED9-850B-F1CBF2C8A6CD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2" creationId="{728C4BCF-D246-3340-2D70-E1C08F9BFD49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4" creationId="{7C660147-7A07-699D-6D32-731CA28AC746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5" creationId="{250214FF-7BF5-D537-807A-54C56494F7EA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1" creationId="{7BC92CB4-EF6D-E83D-EF13-B71B89457FF8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2" creationId="{B555E02D-F1D0-9268-9581-663F30029F98}"/>
          </ac:cxnSpMkLst>
        </pc:cxnChg>
        <pc:cxnChg chg="add del mod">
          <ac:chgData name="Daoud Saadeddin" userId="50f496e5f975282e" providerId="LiveId" clId="{E44F0A1E-2E03-4384-93F3-AF80C4235E7A}" dt="2023-12-29T18:28:49.709" v="86" actId="478"/>
          <ac:cxnSpMkLst>
            <pc:docMk/>
            <pc:sldMk cId="616708893" sldId="262"/>
            <ac:cxnSpMk id="113" creationId="{2CF15EE1-2C29-1F2B-6C04-A95D38C99D82}"/>
          </ac:cxnSpMkLst>
        </pc:cxnChg>
        <pc:cxnChg chg="add del mod">
          <ac:chgData name="Daoud Saadeddin" userId="50f496e5f975282e" providerId="LiveId" clId="{E44F0A1E-2E03-4384-93F3-AF80C4235E7A}" dt="2023-12-29T18:28:54.844" v="87" actId="478"/>
          <ac:cxnSpMkLst>
            <pc:docMk/>
            <pc:sldMk cId="616708893" sldId="262"/>
            <ac:cxnSpMk id="114" creationId="{B7997D74-5BC1-8DFD-286E-0F15A18C7D29}"/>
          </ac:cxnSpMkLst>
        </pc:cxnChg>
        <pc:cxnChg chg="add del mod">
          <ac:chgData name="Daoud Saadeddin" userId="50f496e5f975282e" providerId="LiveId" clId="{E44F0A1E-2E03-4384-93F3-AF80C4235E7A}" dt="2023-12-29T18:28:00.699" v="73" actId="478"/>
          <ac:cxnSpMkLst>
            <pc:docMk/>
            <pc:sldMk cId="616708893" sldId="262"/>
            <ac:cxnSpMk id="115" creationId="{DDC19DFB-7F3C-6F0B-7C7B-DF955DBCAAE1}"/>
          </ac:cxnSpMkLst>
        </pc:cxnChg>
        <pc:cxnChg chg="add del mod">
          <ac:chgData name="Daoud Saadeddin" userId="50f496e5f975282e" providerId="LiveId" clId="{E44F0A1E-2E03-4384-93F3-AF80C4235E7A}" dt="2023-12-29T18:28:03.135" v="74" actId="478"/>
          <ac:cxnSpMkLst>
            <pc:docMk/>
            <pc:sldMk cId="616708893" sldId="262"/>
            <ac:cxnSpMk id="116" creationId="{2AED0031-54B6-DEF1-76DE-40D675F777D1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8" creationId="{851A3508-78A0-4BEA-9B87-BE0624D56B68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9" creationId="{3F5D3D49-C3A0-DD42-4517-5965A2B3B0EE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0" creationId="{BFCA536D-3F87-6F7A-6125-7B5EE738A3FC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1" creationId="{5FA18B17-A47C-3405-3AED-60F12DE93317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2" creationId="{38031E80-F90E-E900-3F77-52030E7E4763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3" creationId="{C3356CB0-A901-ED21-4D5E-356633293CF0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4" creationId="{8E100371-141C-B0FC-24CF-06AF695E195D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5" creationId="{3B1B410C-E0FF-CB5B-EBDA-35C19C2E2DDE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6" creationId="{86C82E1A-309E-26A9-EE27-783BA1716452}"/>
          </ac:cxnSpMkLst>
        </pc:cxnChg>
        <pc:cxnChg chg="add del mod">
          <ac:chgData name="Daoud Saadeddin" userId="50f496e5f975282e" providerId="LiveId" clId="{E44F0A1E-2E03-4384-93F3-AF80C4235E7A}" dt="2023-12-29T18:27:52.434" v="72" actId="478"/>
          <ac:cxnSpMkLst>
            <pc:docMk/>
            <pc:sldMk cId="616708893" sldId="262"/>
            <ac:cxnSpMk id="127" creationId="{1EBCFE0B-AA47-E8EA-4219-9E46A7336CDA}"/>
          </ac:cxnSpMkLst>
        </pc:cxnChg>
        <pc:cxnChg chg="add mod">
          <ac:chgData name="Daoud Saadeddin" userId="50f496e5f975282e" providerId="LiveId" clId="{E44F0A1E-2E03-4384-93F3-AF80C4235E7A}" dt="2023-12-29T20:17:32.010" v="1047" actId="14100"/>
          <ac:cxnSpMkLst>
            <pc:docMk/>
            <pc:sldMk cId="616708893" sldId="262"/>
            <ac:cxnSpMk id="128" creationId="{BA2F155E-B246-F3B9-E623-23DEE2C816B5}"/>
          </ac:cxnSpMkLst>
        </pc:cxnChg>
        <pc:cxnChg chg="add del mod">
          <ac:chgData name="Daoud Saadeddin" userId="50f496e5f975282e" providerId="LiveId" clId="{E44F0A1E-2E03-4384-93F3-AF80C4235E7A}" dt="2023-12-29T18:27:48.328" v="71" actId="478"/>
          <ac:cxnSpMkLst>
            <pc:docMk/>
            <pc:sldMk cId="616708893" sldId="262"/>
            <ac:cxnSpMk id="129" creationId="{CD7CC465-3C27-6353-FEB2-E4D38DA85F98}"/>
          </ac:cxnSpMkLst>
        </pc:cxnChg>
        <pc:cxnChg chg="add del mod">
          <ac:chgData name="Daoud Saadeddin" userId="50f496e5f975282e" providerId="LiveId" clId="{E44F0A1E-2E03-4384-93F3-AF80C4235E7A}" dt="2023-12-29T19:23:18.088" v="561" actId="478"/>
          <ac:cxnSpMkLst>
            <pc:docMk/>
            <pc:sldMk cId="616708893" sldId="262"/>
            <ac:cxnSpMk id="185" creationId="{ACE738D3-91F8-727E-6EDD-C7DD672D24B7}"/>
          </ac:cxnSpMkLst>
        </pc:cxnChg>
        <pc:cxnChg chg="add del mod">
          <ac:chgData name="Daoud Saadeddin" userId="50f496e5f975282e" providerId="LiveId" clId="{E44F0A1E-2E03-4384-93F3-AF80C4235E7A}" dt="2023-12-29T19:23:20.275" v="562" actId="478"/>
          <ac:cxnSpMkLst>
            <pc:docMk/>
            <pc:sldMk cId="616708893" sldId="262"/>
            <ac:cxnSpMk id="186" creationId="{271098BF-C50F-6374-5BF7-7600A4A427C5}"/>
          </ac:cxnSpMkLst>
        </pc:cxnChg>
      </pc:sldChg>
    </pc:docChg>
  </pc:docChgLst>
  <pc:docChgLst>
    <pc:chgData name="l s" userId="1ad91e0f89b49ce0" providerId="LiveId" clId="{F0E26B2F-EE32-4E95-9E78-ED5AA3F03F18}"/>
    <pc:docChg chg="modSld">
      <pc:chgData name="l s" userId="1ad91e0f89b49ce0" providerId="LiveId" clId="{F0E26B2F-EE32-4E95-9E78-ED5AA3F03F18}" dt="2020-04-27T19:46:59.917" v="10" actId="20577"/>
      <pc:docMkLst>
        <pc:docMk/>
      </pc:docMkLst>
      <pc:sldChg chg="modNotesTx">
        <pc:chgData name="l s" userId="1ad91e0f89b49ce0" providerId="LiveId" clId="{F0E26B2F-EE32-4E95-9E78-ED5AA3F03F18}" dt="2020-04-27T19:46:59.917" v="10" actId="20577"/>
        <pc:sldMkLst>
          <pc:docMk/>
          <pc:sldMk cId="3848530579" sldId="26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4BB8C-274B-4368-989C-15C2F6E68365}" type="datetimeFigureOut">
              <a:rPr lang="en-US" smtClean="0"/>
              <a:t>12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C3FCEF-B602-4370-B284-A48CB4053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559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ntt Chart – © Copyright </a:t>
            </a:r>
            <a:r>
              <a:rPr lang="en-US" b="1" dirty="0"/>
              <a:t>Continuous Improvement Toolkit . </a:t>
            </a:r>
            <a:r>
              <a:rPr lang="en-US" b="0" dirty="0"/>
              <a:t>www.citoolkit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C3FCEF-B602-4370-B284-A48CB40539C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2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46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36300" y="526093"/>
            <a:ext cx="1449261" cy="52406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-1171" y="0"/>
            <a:ext cx="9145171" cy="52406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2286146" y="0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Project #</a:t>
            </a:r>
            <a:endParaRPr sz="1050" dirty="0">
              <a:solidFill>
                <a:srgbClr val="000000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5630303" y="0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Revision #</a:t>
            </a:r>
          </a:p>
        </p:txBody>
      </p:sp>
      <p:sp>
        <p:nvSpPr>
          <p:cNvPr id="14" name="Freeform 13"/>
          <p:cNvSpPr/>
          <p:nvPr/>
        </p:nvSpPr>
        <p:spPr>
          <a:xfrm>
            <a:off x="0" y="0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Company name</a:t>
            </a:r>
            <a:endParaRPr sz="1050" dirty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6522996"/>
            <a:ext cx="9144000" cy="33500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www.</a:t>
            </a:r>
            <a:r>
              <a:rPr lang="en-US" sz="2400" b="1" dirty="0">
                <a:solidFill>
                  <a:schemeClr val="tx1"/>
                </a:solidFill>
              </a:rPr>
              <a:t>citoolkit</a:t>
            </a:r>
            <a:r>
              <a:rPr lang="en-US" sz="2400" dirty="0">
                <a:solidFill>
                  <a:schemeClr val="tx1"/>
                </a:solidFill>
              </a:rPr>
              <a:t>.co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-1" y="213853"/>
            <a:ext cx="1227551" cy="836300"/>
          </a:xfrm>
          <a:custGeom>
            <a:avLst/>
            <a:gdLst/>
            <a:ahLst/>
            <a:cxnLst/>
            <a:rect l="0" t="0" r="0" b="0"/>
            <a:pathLst>
              <a:path w="532000" h="532000">
                <a:moveTo>
                  <a:pt x="0" y="0"/>
                </a:moveTo>
                <a:lnTo>
                  <a:pt x="532000" y="0"/>
                </a:lnTo>
                <a:lnTo>
                  <a:pt x="532000" y="532000"/>
                </a:lnTo>
                <a:lnTo>
                  <a:pt x="0" y="532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bg1">
                <a:lumMod val="85000"/>
              </a:schemeClr>
            </a:solidFill>
            <a:bevel/>
          </a:ln>
          <a:effectLst/>
        </p:spPr>
      </p:sp>
      <p:sp>
        <p:nvSpPr>
          <p:cNvPr id="17" name="Freeform 16"/>
          <p:cNvSpPr/>
          <p:nvPr userDrawn="1"/>
        </p:nvSpPr>
        <p:spPr>
          <a:xfrm>
            <a:off x="2286146" y="215121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Facilitated by</a:t>
            </a:r>
          </a:p>
        </p:txBody>
      </p:sp>
      <p:sp>
        <p:nvSpPr>
          <p:cNvPr id="18" name="Freeform 17"/>
          <p:cNvSpPr/>
          <p:nvPr userDrawn="1"/>
        </p:nvSpPr>
        <p:spPr>
          <a:xfrm>
            <a:off x="5630303" y="215121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Date</a:t>
            </a:r>
            <a:endParaRPr sz="1050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2285561" y="526093"/>
            <a:ext cx="6858439" cy="524060"/>
          </a:xfrm>
          <a:prstGeom prst="rect">
            <a:avLst/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068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Page-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Rectangle 167">
            <a:extLst>
              <a:ext uri="{FF2B5EF4-FFF2-40B4-BE49-F238E27FC236}">
                <a16:creationId xmlns:a16="http://schemas.microsoft.com/office/drawing/2014/main" id="{FDC1E626-958A-375E-6E0D-0624EC33A6D9}"/>
              </a:ext>
            </a:extLst>
          </p:cNvPr>
          <p:cNvSpPr/>
          <p:nvPr/>
        </p:nvSpPr>
        <p:spPr>
          <a:xfrm>
            <a:off x="82537" y="1489266"/>
            <a:ext cx="8959863" cy="45458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77EB928A-2C6E-6CFB-3F93-8E4ED7A9FBA7}"/>
              </a:ext>
            </a:extLst>
          </p:cNvPr>
          <p:cNvGrpSpPr/>
          <p:nvPr/>
        </p:nvGrpSpPr>
        <p:grpSpPr>
          <a:xfrm>
            <a:off x="2524109" y="1489265"/>
            <a:ext cx="5450425" cy="4545843"/>
            <a:chOff x="2524109" y="1347788"/>
            <a:chExt cx="5450425" cy="4368800"/>
          </a:xfrm>
          <a:solidFill>
            <a:schemeClr val="bg1"/>
          </a:solidFill>
        </p:grpSpPr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C1765C3B-8FCF-4E9F-EB02-D4CC3802C9B5}"/>
                </a:ext>
              </a:extLst>
            </p:cNvPr>
            <p:cNvSpPr/>
            <p:nvPr/>
          </p:nvSpPr>
          <p:spPr>
            <a:xfrm>
              <a:off x="2524109" y="1347788"/>
              <a:ext cx="5450425" cy="4368799"/>
            </a:xfrm>
            <a:prstGeom prst="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BC92CB4-EF6D-E83D-EF13-B71B89457FF8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 bwMode="auto">
            <a:xfrm>
              <a:off x="7066129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555E02D-F1D0-9268-9581-663F30029F98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 bwMode="auto">
            <a:xfrm>
              <a:off x="7520331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851A3508-78A0-4BEA-9B87-BE0624D56B68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 bwMode="auto">
            <a:xfrm>
              <a:off x="6611927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F5D3D49-C3A0-DD42-4517-5965A2B3B0EE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 bwMode="auto">
            <a:xfrm>
              <a:off x="2978311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FCA536D-3F87-6F7A-6125-7B5EE738A3FC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auto">
            <a:xfrm>
              <a:off x="3432513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5FA18B17-A47C-3405-3AED-60F12DE93317}"/>
                </a:ext>
              </a:extLst>
            </p:cNvPr>
            <p:cNvCxnSpPr>
              <a:cxnSpLocks/>
            </p:cNvCxnSpPr>
            <p:nvPr>
              <p:custDataLst>
                <p:tags r:id="rId8"/>
              </p:custDataLst>
            </p:nvPr>
          </p:nvCxnSpPr>
          <p:spPr bwMode="auto">
            <a:xfrm>
              <a:off x="3886715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38031E80-F90E-E900-3F77-52030E7E4763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 bwMode="auto">
            <a:xfrm>
              <a:off x="4340917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C3356CB0-A901-ED21-4D5E-356633293CF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 bwMode="auto">
            <a:xfrm>
              <a:off x="4795119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8E100371-141C-B0FC-24CF-06AF695E195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 bwMode="auto">
            <a:xfrm>
              <a:off x="5249321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3B1B410C-E0FF-CB5B-EBDA-35C19C2E2DD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 bwMode="auto">
            <a:xfrm>
              <a:off x="5703523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86C82E1A-309E-26A9-EE27-783BA1716452}"/>
                </a:ext>
              </a:extLst>
            </p:cNvPr>
            <p:cNvCxnSpPr>
              <a:cxnSpLocks/>
            </p:cNvCxnSpPr>
            <p:nvPr>
              <p:custDataLst>
                <p:tags r:id="rId13"/>
              </p:custDataLst>
            </p:nvPr>
          </p:nvCxnSpPr>
          <p:spPr bwMode="auto">
            <a:xfrm>
              <a:off x="6157725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17" name="TextBox 116"/>
          <p:cNvSpPr txBox="1"/>
          <p:nvPr/>
        </p:nvSpPr>
        <p:spPr>
          <a:xfrm>
            <a:off x="2322287" y="619692"/>
            <a:ext cx="6720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Designing and developing our website</a:t>
            </a:r>
            <a:endParaRPr lang="en-US" dirty="0"/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3954219D-FB30-21A1-F809-A262566DDF1C}"/>
              </a:ext>
            </a:extLst>
          </p:cNvPr>
          <p:cNvGrpSpPr/>
          <p:nvPr/>
        </p:nvGrpSpPr>
        <p:grpSpPr>
          <a:xfrm>
            <a:off x="4087498" y="1489265"/>
            <a:ext cx="876292" cy="4927344"/>
            <a:chOff x="3439124" y="1463865"/>
            <a:chExt cx="876292" cy="4927344"/>
          </a:xfrm>
        </p:grpSpPr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BA2F155E-B246-F3B9-E623-23DEE2C816B5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 bwMode="gray">
            <a:xfrm>
              <a:off x="3889362" y="1463865"/>
              <a:ext cx="0" cy="4545842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1" name="Isosceles Triangle 140">
              <a:extLst>
                <a:ext uri="{FF2B5EF4-FFF2-40B4-BE49-F238E27FC236}">
                  <a16:creationId xmlns:a16="http://schemas.microsoft.com/office/drawing/2014/main" id="{8F4A5FEF-BBA4-2B56-76E1-80C99EA97EB4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3839832" y="6054195"/>
              <a:ext cx="114300" cy="114300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/>
                <a:sym typeface="Calibri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3DDDD86C-BB85-5102-3583-6952759E1B47}"/>
                </a:ext>
              </a:extLst>
            </p:cNvPr>
            <p:cNvSpPr txBox="1"/>
            <p:nvPr/>
          </p:nvSpPr>
          <p:spPr>
            <a:xfrm>
              <a:off x="3439124" y="6168495"/>
              <a:ext cx="876292" cy="222714"/>
            </a:xfrm>
            <a:prstGeom prst="rect">
              <a:avLst/>
            </a:prstGeom>
            <a:noFill/>
          </p:spPr>
          <p:txBody>
            <a:bodyPr wrap="square" lIns="3600" tIns="3600" rIns="3600" bIns="360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FF0000"/>
                  </a:solidFill>
                  <a:latin typeface="Calibri" panose="020F0502020204030204"/>
                  <a:cs typeface="Calibri"/>
                </a:rPr>
                <a:t>Today</a:t>
              </a:r>
              <a:endParaRPr lang="en-AE" dirty="0"/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CD903537-FB09-72D2-80B9-80AEF9C80BB4}"/>
              </a:ext>
            </a:extLst>
          </p:cNvPr>
          <p:cNvGrpSpPr/>
          <p:nvPr/>
        </p:nvGrpSpPr>
        <p:grpSpPr>
          <a:xfrm>
            <a:off x="2557292" y="1230199"/>
            <a:ext cx="5393902" cy="199207"/>
            <a:chOff x="2557292" y="1059640"/>
            <a:chExt cx="5393902" cy="199207"/>
          </a:xfrm>
          <a:solidFill>
            <a:schemeClr val="tx1"/>
          </a:solidFill>
        </p:grpSpPr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64D8400F-3C95-9413-9EAC-FDE97285EF66}"/>
                </a:ext>
              </a:extLst>
            </p:cNvPr>
            <p:cNvSpPr txBox="1"/>
            <p:nvPr/>
          </p:nvSpPr>
          <p:spPr>
            <a:xfrm>
              <a:off x="2557292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1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484FE3A2-24BB-DBA0-451C-01180E2F61CB}"/>
                </a:ext>
              </a:extLst>
            </p:cNvPr>
            <p:cNvSpPr txBox="1"/>
            <p:nvPr/>
          </p:nvSpPr>
          <p:spPr>
            <a:xfrm>
              <a:off x="3014568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2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5ED80AC4-1225-336A-362A-1D9D65AA94BE}"/>
                </a:ext>
              </a:extLst>
            </p:cNvPr>
            <p:cNvSpPr txBox="1"/>
            <p:nvPr/>
          </p:nvSpPr>
          <p:spPr>
            <a:xfrm>
              <a:off x="3471844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3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B6D631B8-D054-6194-74ED-5954C5EFF4A2}"/>
                </a:ext>
              </a:extLst>
            </p:cNvPr>
            <p:cNvSpPr txBox="1"/>
            <p:nvPr/>
          </p:nvSpPr>
          <p:spPr>
            <a:xfrm>
              <a:off x="3929120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4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06AD48F8-EC2A-88FA-1F9F-C1569B5F094F}"/>
                </a:ext>
              </a:extLst>
            </p:cNvPr>
            <p:cNvSpPr txBox="1"/>
            <p:nvPr/>
          </p:nvSpPr>
          <p:spPr>
            <a:xfrm>
              <a:off x="4386396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5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C041E29A-ADD6-DD38-D440-3C8CF7C24C66}"/>
                </a:ext>
              </a:extLst>
            </p:cNvPr>
            <p:cNvSpPr txBox="1"/>
            <p:nvPr/>
          </p:nvSpPr>
          <p:spPr>
            <a:xfrm>
              <a:off x="4843672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6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5C3D37F5-32BA-AE16-E9D1-7B51287E019C}"/>
                </a:ext>
              </a:extLst>
            </p:cNvPr>
            <p:cNvSpPr txBox="1"/>
            <p:nvPr/>
          </p:nvSpPr>
          <p:spPr>
            <a:xfrm>
              <a:off x="5300948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7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2E2FBDA3-1445-E0CF-C9BB-90C31B6135AE}"/>
                </a:ext>
              </a:extLst>
            </p:cNvPr>
            <p:cNvSpPr txBox="1"/>
            <p:nvPr/>
          </p:nvSpPr>
          <p:spPr>
            <a:xfrm>
              <a:off x="5758224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8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AA066161-94A6-BE22-FB47-682FEA0DDCAF}"/>
                </a:ext>
              </a:extLst>
            </p:cNvPr>
            <p:cNvSpPr txBox="1"/>
            <p:nvPr/>
          </p:nvSpPr>
          <p:spPr>
            <a:xfrm>
              <a:off x="6215500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9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56C7455A-FAA1-3768-D678-E82FB326B199}"/>
                </a:ext>
              </a:extLst>
            </p:cNvPr>
            <p:cNvSpPr txBox="1"/>
            <p:nvPr/>
          </p:nvSpPr>
          <p:spPr>
            <a:xfrm>
              <a:off x="6672776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10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4758B6C-7A6C-5C0F-6C43-2D422E74625B}"/>
                </a:ext>
              </a:extLst>
            </p:cNvPr>
            <p:cNvSpPr txBox="1"/>
            <p:nvPr/>
          </p:nvSpPr>
          <p:spPr>
            <a:xfrm>
              <a:off x="7130052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11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BBC39A44-E7A9-2275-E3C3-C10F16627487}"/>
                </a:ext>
              </a:extLst>
            </p:cNvPr>
            <p:cNvSpPr txBox="1"/>
            <p:nvPr/>
          </p:nvSpPr>
          <p:spPr>
            <a:xfrm>
              <a:off x="7587323" y="1059640"/>
              <a:ext cx="363871" cy="199207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wk12</a:t>
              </a:r>
              <a:endParaRPr lang="en-AE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01" name="TextBox 200">
            <a:extLst>
              <a:ext uri="{FF2B5EF4-FFF2-40B4-BE49-F238E27FC236}">
                <a16:creationId xmlns:a16="http://schemas.microsoft.com/office/drawing/2014/main" id="{25B0C2CB-993B-F6D3-5DD8-38894DA8E62E}"/>
              </a:ext>
            </a:extLst>
          </p:cNvPr>
          <p:cNvSpPr txBox="1"/>
          <p:nvPr/>
        </p:nvSpPr>
        <p:spPr>
          <a:xfrm>
            <a:off x="92668" y="1482952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b="0" i="0" dirty="0">
                <a:solidFill>
                  <a:srgbClr val="374151"/>
                </a:solidFill>
                <a:effectLst/>
              </a:rPr>
              <a:t>Decide on the technology and platform.</a:t>
            </a:r>
            <a:endParaRPr lang="en-AE" sz="1300" dirty="0"/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CE2AE1EF-052A-9BFF-9434-70F396ADECF1}"/>
              </a:ext>
            </a:extLst>
          </p:cNvPr>
          <p:cNvSpPr txBox="1"/>
          <p:nvPr/>
        </p:nvSpPr>
        <p:spPr>
          <a:xfrm>
            <a:off x="7990192" y="1582980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Completed</a:t>
            </a:r>
          </a:p>
        </p:txBody>
      </p:sp>
      <p:sp>
        <p:nvSpPr>
          <p:cNvPr id="234" name="Arrow: Pentagon 233">
            <a:extLst>
              <a:ext uri="{FF2B5EF4-FFF2-40B4-BE49-F238E27FC236}">
                <a16:creationId xmlns:a16="http://schemas.microsoft.com/office/drawing/2014/main" id="{21BAC2AC-8FE1-9903-7F08-D9AF9DDAAE47}"/>
              </a:ext>
            </a:extLst>
          </p:cNvPr>
          <p:cNvSpPr/>
          <p:nvPr/>
        </p:nvSpPr>
        <p:spPr>
          <a:xfrm>
            <a:off x="2524109" y="1589184"/>
            <a:ext cx="272353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A0C5488A-1D0C-6646-080A-898CB8FD4981}"/>
              </a:ext>
            </a:extLst>
          </p:cNvPr>
          <p:cNvSpPr txBox="1"/>
          <p:nvPr/>
        </p:nvSpPr>
        <p:spPr>
          <a:xfrm>
            <a:off x="92668" y="1936611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Create a sitemap outlining the website structure.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A039303F-FBB4-713D-14BB-E50B0FD64486}"/>
              </a:ext>
            </a:extLst>
          </p:cNvPr>
          <p:cNvSpPr txBox="1"/>
          <p:nvPr/>
        </p:nvSpPr>
        <p:spPr>
          <a:xfrm>
            <a:off x="7990192" y="2036638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Completed</a:t>
            </a:r>
          </a:p>
        </p:txBody>
      </p:sp>
      <p:sp>
        <p:nvSpPr>
          <p:cNvPr id="236" name="Arrow: Pentagon 235">
            <a:extLst>
              <a:ext uri="{FF2B5EF4-FFF2-40B4-BE49-F238E27FC236}">
                <a16:creationId xmlns:a16="http://schemas.microsoft.com/office/drawing/2014/main" id="{18C19CF4-0F3E-C69E-CC37-3131529B143C}"/>
              </a:ext>
            </a:extLst>
          </p:cNvPr>
          <p:cNvSpPr/>
          <p:nvPr/>
        </p:nvSpPr>
        <p:spPr>
          <a:xfrm>
            <a:off x="2524109" y="2042842"/>
            <a:ext cx="490454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ACEFE628-8097-BCFE-2349-914E343A6E67}"/>
              </a:ext>
            </a:extLst>
          </p:cNvPr>
          <p:cNvSpPr txBox="1"/>
          <p:nvPr/>
        </p:nvSpPr>
        <p:spPr>
          <a:xfrm>
            <a:off x="92668" y="2490296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Identify the content for each page.</a:t>
            </a:r>
            <a:endParaRPr lang="en-AE" sz="1300" dirty="0"/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4224A5AE-F8E9-DF91-11F1-D0B76595ED21}"/>
              </a:ext>
            </a:extLst>
          </p:cNvPr>
          <p:cNvSpPr txBox="1"/>
          <p:nvPr/>
        </p:nvSpPr>
        <p:spPr>
          <a:xfrm>
            <a:off x="7990192" y="2490296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Completed</a:t>
            </a:r>
          </a:p>
        </p:txBody>
      </p:sp>
      <p:sp>
        <p:nvSpPr>
          <p:cNvPr id="238" name="Arrow: Pentagon 237">
            <a:extLst>
              <a:ext uri="{FF2B5EF4-FFF2-40B4-BE49-F238E27FC236}">
                <a16:creationId xmlns:a16="http://schemas.microsoft.com/office/drawing/2014/main" id="{AB0C9898-DE09-B577-97EB-AE4A325412A8}"/>
              </a:ext>
            </a:extLst>
          </p:cNvPr>
          <p:cNvSpPr/>
          <p:nvPr/>
        </p:nvSpPr>
        <p:spPr>
          <a:xfrm>
            <a:off x="2993970" y="2496500"/>
            <a:ext cx="1328411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3E8A6DC-6A25-AA54-D1D2-C14F31069CC5}"/>
              </a:ext>
            </a:extLst>
          </p:cNvPr>
          <p:cNvSpPr txBox="1"/>
          <p:nvPr/>
        </p:nvSpPr>
        <p:spPr>
          <a:xfrm>
            <a:off x="92668" y="2943954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Identify t</a:t>
            </a:r>
            <a:r>
              <a:rPr lang="en-US" sz="1300" dirty="0"/>
              <a:t>he</a:t>
            </a:r>
            <a:r>
              <a:rPr lang="en-AE" sz="1300" dirty="0"/>
              <a:t> imaging for each page.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B4E42FB2-5E2F-21CB-B9E2-5D181589D055}"/>
              </a:ext>
            </a:extLst>
          </p:cNvPr>
          <p:cNvSpPr txBox="1"/>
          <p:nvPr/>
        </p:nvSpPr>
        <p:spPr>
          <a:xfrm>
            <a:off x="7990192" y="2943954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Completed</a:t>
            </a:r>
          </a:p>
        </p:txBody>
      </p:sp>
      <p:sp>
        <p:nvSpPr>
          <p:cNvPr id="240" name="Arrow: Pentagon 239">
            <a:extLst>
              <a:ext uri="{FF2B5EF4-FFF2-40B4-BE49-F238E27FC236}">
                <a16:creationId xmlns:a16="http://schemas.microsoft.com/office/drawing/2014/main" id="{4495D99D-B058-5326-1E2D-5FFEA4E98498}"/>
              </a:ext>
            </a:extLst>
          </p:cNvPr>
          <p:cNvSpPr/>
          <p:nvPr/>
        </p:nvSpPr>
        <p:spPr>
          <a:xfrm>
            <a:off x="2993970" y="2950158"/>
            <a:ext cx="1346947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24A5B31E-084E-A158-29C5-AA970D07DE02}"/>
              </a:ext>
            </a:extLst>
          </p:cNvPr>
          <p:cNvSpPr txBox="1"/>
          <p:nvPr/>
        </p:nvSpPr>
        <p:spPr>
          <a:xfrm>
            <a:off x="92668" y="3297585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Write HTML and CSS for each page.</a:t>
            </a:r>
            <a:endParaRPr lang="en-AE" sz="1300" dirty="0"/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253D67BD-18A0-B7EB-FA29-6CD1D8AF55A0}"/>
              </a:ext>
            </a:extLst>
          </p:cNvPr>
          <p:cNvSpPr txBox="1"/>
          <p:nvPr/>
        </p:nvSpPr>
        <p:spPr>
          <a:xfrm>
            <a:off x="7990192" y="3397612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Started</a:t>
            </a:r>
          </a:p>
        </p:txBody>
      </p:sp>
      <p:sp>
        <p:nvSpPr>
          <p:cNvPr id="242" name="Arrow: Pentagon 241">
            <a:extLst>
              <a:ext uri="{FF2B5EF4-FFF2-40B4-BE49-F238E27FC236}">
                <a16:creationId xmlns:a16="http://schemas.microsoft.com/office/drawing/2014/main" id="{D572735B-63CC-525B-18BD-47AC411A1EF9}"/>
              </a:ext>
            </a:extLst>
          </p:cNvPr>
          <p:cNvSpPr/>
          <p:nvPr/>
        </p:nvSpPr>
        <p:spPr>
          <a:xfrm>
            <a:off x="3432514" y="3403816"/>
            <a:ext cx="1762238" cy="260350"/>
          </a:xfrm>
          <a:prstGeom prst="homePlate">
            <a:avLst/>
          </a:prstGeom>
          <a:solidFill>
            <a:srgbClr val="FFFF00"/>
          </a:solidFill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5C9D357A-FAF5-1004-3069-978F153BFB16}"/>
              </a:ext>
            </a:extLst>
          </p:cNvPr>
          <p:cNvSpPr txBox="1"/>
          <p:nvPr/>
        </p:nvSpPr>
        <p:spPr>
          <a:xfrm>
            <a:off x="92668" y="3751243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Ensure responsive design and cross-browser compatibility.</a:t>
            </a:r>
            <a:endParaRPr lang="en-AE" sz="1300" dirty="0"/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A0973EBB-8F46-83B9-D202-FA6DD3285E0D}"/>
              </a:ext>
            </a:extLst>
          </p:cNvPr>
          <p:cNvSpPr txBox="1"/>
          <p:nvPr/>
        </p:nvSpPr>
        <p:spPr>
          <a:xfrm>
            <a:off x="7990192" y="3851270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Started</a:t>
            </a:r>
          </a:p>
        </p:txBody>
      </p:sp>
      <p:sp>
        <p:nvSpPr>
          <p:cNvPr id="245" name="Arrow: Pentagon 244">
            <a:extLst>
              <a:ext uri="{FF2B5EF4-FFF2-40B4-BE49-F238E27FC236}">
                <a16:creationId xmlns:a16="http://schemas.microsoft.com/office/drawing/2014/main" id="{C63A2C6A-95D5-106E-5EFE-B1C578F4349E}"/>
              </a:ext>
            </a:extLst>
          </p:cNvPr>
          <p:cNvSpPr/>
          <p:nvPr/>
        </p:nvSpPr>
        <p:spPr>
          <a:xfrm>
            <a:off x="4292991" y="3857474"/>
            <a:ext cx="901761" cy="260350"/>
          </a:xfrm>
          <a:prstGeom prst="homePlate">
            <a:avLst/>
          </a:prstGeom>
          <a:solidFill>
            <a:srgbClr val="FFFF00"/>
          </a:solidFill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A3A02CD4-BA2D-CE45-CAFE-E9098DA75DDD}"/>
              </a:ext>
            </a:extLst>
          </p:cNvPr>
          <p:cNvSpPr txBox="1"/>
          <p:nvPr/>
        </p:nvSpPr>
        <p:spPr>
          <a:xfrm>
            <a:off x="92668" y="4204901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Develop frontend and backend functionality.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C813C33F-45E1-7C4E-A25A-2ADE5CE106BA}"/>
              </a:ext>
            </a:extLst>
          </p:cNvPr>
          <p:cNvSpPr txBox="1"/>
          <p:nvPr/>
        </p:nvSpPr>
        <p:spPr>
          <a:xfrm>
            <a:off x="7990192" y="4304928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Not started</a:t>
            </a:r>
          </a:p>
        </p:txBody>
      </p:sp>
      <p:sp>
        <p:nvSpPr>
          <p:cNvPr id="248" name="Arrow: Pentagon 247">
            <a:extLst>
              <a:ext uri="{FF2B5EF4-FFF2-40B4-BE49-F238E27FC236}">
                <a16:creationId xmlns:a16="http://schemas.microsoft.com/office/drawing/2014/main" id="{421FDDC5-5174-9501-B114-3DED96E1D700}"/>
              </a:ext>
            </a:extLst>
          </p:cNvPr>
          <p:cNvSpPr/>
          <p:nvPr/>
        </p:nvSpPr>
        <p:spPr>
          <a:xfrm>
            <a:off x="5194752" y="4311132"/>
            <a:ext cx="2258587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6830D18D-4E0A-EF13-D392-2C95DA06CAC0}"/>
              </a:ext>
            </a:extLst>
          </p:cNvPr>
          <p:cNvSpPr txBox="1"/>
          <p:nvPr/>
        </p:nvSpPr>
        <p:spPr>
          <a:xfrm>
            <a:off x="92668" y="4658559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Implement security measures (SSL, user authentication, etc.).</a:t>
            </a:r>
            <a:endParaRPr lang="en-AE" sz="1300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724B1E49-D1C9-1680-1528-0E7C581603CB}"/>
              </a:ext>
            </a:extLst>
          </p:cNvPr>
          <p:cNvSpPr txBox="1"/>
          <p:nvPr/>
        </p:nvSpPr>
        <p:spPr>
          <a:xfrm>
            <a:off x="7990192" y="4758586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Not started</a:t>
            </a:r>
          </a:p>
        </p:txBody>
      </p:sp>
      <p:sp>
        <p:nvSpPr>
          <p:cNvPr id="250" name="Arrow: Pentagon 249">
            <a:extLst>
              <a:ext uri="{FF2B5EF4-FFF2-40B4-BE49-F238E27FC236}">
                <a16:creationId xmlns:a16="http://schemas.microsoft.com/office/drawing/2014/main" id="{515D3201-9E54-C850-24D0-ACBD180C4E41}"/>
              </a:ext>
            </a:extLst>
          </p:cNvPr>
          <p:cNvSpPr/>
          <p:nvPr/>
        </p:nvSpPr>
        <p:spPr>
          <a:xfrm>
            <a:off x="6866061" y="4764790"/>
            <a:ext cx="1001588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D7B6A83-F010-BE51-47F7-D4CBA9919276}"/>
              </a:ext>
            </a:extLst>
          </p:cNvPr>
          <p:cNvSpPr txBox="1"/>
          <p:nvPr/>
        </p:nvSpPr>
        <p:spPr>
          <a:xfrm>
            <a:off x="92668" y="5112217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Optimize content for search engines.</a:t>
            </a:r>
            <a:endParaRPr lang="en-AE" sz="1300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1D6BF3F2-EDFB-9FB2-3FD8-8F55164E1E47}"/>
              </a:ext>
            </a:extLst>
          </p:cNvPr>
          <p:cNvSpPr txBox="1"/>
          <p:nvPr/>
        </p:nvSpPr>
        <p:spPr>
          <a:xfrm>
            <a:off x="7990192" y="5212244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Not started</a:t>
            </a:r>
          </a:p>
        </p:txBody>
      </p:sp>
      <p:sp>
        <p:nvSpPr>
          <p:cNvPr id="252" name="Arrow: Pentagon 251">
            <a:extLst>
              <a:ext uri="{FF2B5EF4-FFF2-40B4-BE49-F238E27FC236}">
                <a16:creationId xmlns:a16="http://schemas.microsoft.com/office/drawing/2014/main" id="{F0B29DFF-A410-2F7F-A8E6-B2639C3D7C29}"/>
              </a:ext>
            </a:extLst>
          </p:cNvPr>
          <p:cNvSpPr/>
          <p:nvPr/>
        </p:nvSpPr>
        <p:spPr>
          <a:xfrm>
            <a:off x="6874740" y="5218448"/>
            <a:ext cx="1001588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F5DA191-11B7-616B-7AB8-6745C7D3CCBE}"/>
              </a:ext>
            </a:extLst>
          </p:cNvPr>
          <p:cNvSpPr txBox="1"/>
          <p:nvPr/>
        </p:nvSpPr>
        <p:spPr>
          <a:xfrm>
            <a:off x="92668" y="5565874"/>
            <a:ext cx="2415781" cy="47281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Deploy the website to a live server.</a:t>
            </a:r>
            <a:endParaRPr lang="en-AE" sz="1300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F576F97E-3E9E-9923-7CC8-5072F7142B17}"/>
              </a:ext>
            </a:extLst>
          </p:cNvPr>
          <p:cNvSpPr txBox="1"/>
          <p:nvPr/>
        </p:nvSpPr>
        <p:spPr>
          <a:xfrm>
            <a:off x="7990192" y="5665901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Not started</a:t>
            </a:r>
          </a:p>
        </p:txBody>
      </p:sp>
      <p:sp>
        <p:nvSpPr>
          <p:cNvPr id="255" name="Arrow: Pentagon 254">
            <a:extLst>
              <a:ext uri="{FF2B5EF4-FFF2-40B4-BE49-F238E27FC236}">
                <a16:creationId xmlns:a16="http://schemas.microsoft.com/office/drawing/2014/main" id="{66BFF4F3-C679-B961-6323-452880BF6D18}"/>
              </a:ext>
            </a:extLst>
          </p:cNvPr>
          <p:cNvSpPr/>
          <p:nvPr/>
        </p:nvSpPr>
        <p:spPr>
          <a:xfrm>
            <a:off x="7587323" y="5672105"/>
            <a:ext cx="367415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65D57B21-B3B8-078C-F68A-79C24A84EA31}"/>
              </a:ext>
            </a:extLst>
          </p:cNvPr>
          <p:cNvSpPr txBox="1"/>
          <p:nvPr/>
        </p:nvSpPr>
        <p:spPr>
          <a:xfrm>
            <a:off x="156169" y="1201118"/>
            <a:ext cx="2299456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400" b="1" dirty="0"/>
              <a:t>ACTIVITIES / PHASES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2986C32B-1702-13F3-FC2D-EC7F952BA056}"/>
              </a:ext>
            </a:extLst>
          </p:cNvPr>
          <p:cNvSpPr txBox="1"/>
          <p:nvPr/>
        </p:nvSpPr>
        <p:spPr>
          <a:xfrm>
            <a:off x="8218617" y="1201118"/>
            <a:ext cx="649151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400" b="1" dirty="0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616708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Yh3NdIqROwHGB2uOXK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8KbzxRgPOXUFL4Oi.L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KtECJ8SDSjznF_dAwh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cV_hSwx7Yg6XN0PHyu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E_lbwLpXpfw7eIkiQt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ZxD23L_atVjnJoUQ3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zMYgQ90IY.zccUewG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xp1UcZOvJELcg8Gmvs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Pw.pWcKV6AKQbHthR_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wZeIbqvpPxNupMVk1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PQNKn.8bLsftVs1uE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wsfWzQg1JfZPmEQb90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R9HID9aaDkFAXSay.Te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4</TotalTime>
  <Words>127</Words>
  <Application>Microsoft Office PowerPoint</Application>
  <PresentationFormat>On-screen Show (4:3)</PresentationFormat>
  <Paragraphs>38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Calibri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in</dc:creator>
  <cp:lastModifiedBy>Daoud Saadeddin</cp:lastModifiedBy>
  <cp:revision>261</cp:revision>
  <dcterms:created xsi:type="dcterms:W3CDTF">2013-12-01T22:07:52Z</dcterms:created>
  <dcterms:modified xsi:type="dcterms:W3CDTF">2023-12-30T10:57:01Z</dcterms:modified>
</cp:coreProperties>
</file>